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8"/>
  </p:notesMasterIdLst>
  <p:handoutMasterIdLst>
    <p:handoutMasterId r:id="rId79"/>
  </p:handoutMasterIdLst>
  <p:sldIdLst>
    <p:sldId id="409" r:id="rId2"/>
    <p:sldId id="411" r:id="rId3"/>
    <p:sldId id="298" r:id="rId4"/>
    <p:sldId id="299" r:id="rId5"/>
    <p:sldId id="300" r:id="rId6"/>
    <p:sldId id="350" r:id="rId7"/>
    <p:sldId id="351" r:id="rId8"/>
    <p:sldId id="307" r:id="rId9"/>
    <p:sldId id="352" r:id="rId10"/>
    <p:sldId id="359" r:id="rId11"/>
    <p:sldId id="348" r:id="rId12"/>
    <p:sldId id="354" r:id="rId13"/>
    <p:sldId id="355" r:id="rId14"/>
    <p:sldId id="357" r:id="rId15"/>
    <p:sldId id="360" r:id="rId16"/>
    <p:sldId id="361" r:id="rId17"/>
    <p:sldId id="362" r:id="rId18"/>
    <p:sldId id="296" r:id="rId19"/>
    <p:sldId id="363" r:id="rId20"/>
    <p:sldId id="412" r:id="rId21"/>
    <p:sldId id="413" r:id="rId22"/>
    <p:sldId id="364" r:id="rId23"/>
    <p:sldId id="365" r:id="rId24"/>
    <p:sldId id="366" r:id="rId25"/>
    <p:sldId id="368" r:id="rId26"/>
    <p:sldId id="369" r:id="rId27"/>
    <p:sldId id="371" r:id="rId28"/>
    <p:sldId id="372" r:id="rId29"/>
    <p:sldId id="374" r:id="rId30"/>
    <p:sldId id="373" r:id="rId31"/>
    <p:sldId id="414" r:id="rId32"/>
    <p:sldId id="431" r:id="rId33"/>
    <p:sldId id="377" r:id="rId34"/>
    <p:sldId id="432" r:id="rId35"/>
    <p:sldId id="433" r:id="rId36"/>
    <p:sldId id="378" r:id="rId37"/>
    <p:sldId id="379" r:id="rId38"/>
    <p:sldId id="380" r:id="rId39"/>
    <p:sldId id="381" r:id="rId40"/>
    <p:sldId id="382" r:id="rId41"/>
    <p:sldId id="384" r:id="rId42"/>
    <p:sldId id="383" r:id="rId43"/>
    <p:sldId id="386" r:id="rId44"/>
    <p:sldId id="387" r:id="rId45"/>
    <p:sldId id="415" r:id="rId46"/>
    <p:sldId id="390" r:id="rId47"/>
    <p:sldId id="391" r:id="rId48"/>
    <p:sldId id="388" r:id="rId49"/>
    <p:sldId id="392" r:id="rId50"/>
    <p:sldId id="393" r:id="rId51"/>
    <p:sldId id="394" r:id="rId52"/>
    <p:sldId id="395" r:id="rId53"/>
    <p:sldId id="417" r:id="rId54"/>
    <p:sldId id="419" r:id="rId55"/>
    <p:sldId id="420" r:id="rId56"/>
    <p:sldId id="421" r:id="rId57"/>
    <p:sldId id="397" r:id="rId58"/>
    <p:sldId id="398" r:id="rId59"/>
    <p:sldId id="422" r:id="rId60"/>
    <p:sldId id="399" r:id="rId61"/>
    <p:sldId id="400" r:id="rId62"/>
    <p:sldId id="401" r:id="rId63"/>
    <p:sldId id="423" r:id="rId64"/>
    <p:sldId id="402" r:id="rId65"/>
    <p:sldId id="403" r:id="rId66"/>
    <p:sldId id="404" r:id="rId67"/>
    <p:sldId id="424" r:id="rId68"/>
    <p:sldId id="425" r:id="rId69"/>
    <p:sldId id="405" r:id="rId70"/>
    <p:sldId id="426" r:id="rId71"/>
    <p:sldId id="427" r:id="rId72"/>
    <p:sldId id="428" r:id="rId73"/>
    <p:sldId id="429" r:id="rId74"/>
    <p:sldId id="439" r:id="rId75"/>
    <p:sldId id="430" r:id="rId76"/>
    <p:sldId id="301" r:id="rId77"/>
  </p:sldIdLst>
  <p:sldSz cx="9144000" cy="6858000" type="screen4x3"/>
  <p:notesSz cx="6400800" cy="86868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7ABE3"/>
    <a:srgbClr val="E24E0C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78" autoAdjust="0"/>
    <p:restoredTop sz="96349" autoAdjust="0"/>
  </p:normalViewPr>
  <p:slideViewPr>
    <p:cSldViewPr snapToGrid="0">
      <p:cViewPr varScale="1">
        <p:scale>
          <a:sx n="121" d="100"/>
          <a:sy n="121" d="100"/>
        </p:scale>
        <p:origin x="1872" y="8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3/6/28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085850"/>
            <a:ext cx="3908425" cy="2932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210" tIns="43105" rIns="86210" bIns="43105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40080" y="4180522"/>
            <a:ext cx="5120640" cy="3420428"/>
          </a:xfrm>
          <a:prstGeom prst="rect">
            <a:avLst/>
          </a:prstGeom>
        </p:spPr>
        <p:txBody>
          <a:bodyPr vert="horz" lIns="86210" tIns="43105" rIns="86210" bIns="43105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2508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4549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8430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93663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3/6/28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../media/image51.png"/><Relationship Id="rId3" Type="http://schemas.openxmlformats.org/officeDocument/2006/relationships/image" Target="../media/image5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image" Target="../media/image5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9.png"/><Relationship Id="rId4" Type="http://schemas.openxmlformats.org/officeDocument/2006/relationships/image" Target="NUL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../media/image1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9" Type="http://schemas.openxmlformats.org/officeDocument/2006/relationships/image" Target="NUL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7" Type="http://schemas.openxmlformats.org/officeDocument/2006/relationships/image" Target="../media/image8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1.png"/><Relationship Id="rId5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zhuanlan.zhihu.com/p/26514613" TargetMode="Externa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13" Type="http://schemas.openxmlformats.org/officeDocument/2006/relationships/image" Target="../media/image160.png"/><Relationship Id="rId3" Type="http://schemas.openxmlformats.org/officeDocument/2006/relationships/image" Target="../media/image600.png"/><Relationship Id="rId7" Type="http://schemas.openxmlformats.org/officeDocument/2006/relationships/image" Target="../media/image100.png"/><Relationship Id="rId12" Type="http://schemas.openxmlformats.org/officeDocument/2006/relationships/image" Target="../media/image150.png"/><Relationship Id="rId2" Type="http://schemas.openxmlformats.org/officeDocument/2006/relationships/image" Target="../media/image50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0.png"/><Relationship Id="rId11" Type="http://schemas.openxmlformats.org/officeDocument/2006/relationships/image" Target="../media/image140.png"/><Relationship Id="rId5" Type="http://schemas.openxmlformats.org/officeDocument/2006/relationships/image" Target="../media/image80.png"/><Relationship Id="rId15" Type="http://schemas.openxmlformats.org/officeDocument/2006/relationships/image" Target="../media/image180.png"/><Relationship Id="rId10" Type="http://schemas.openxmlformats.org/officeDocument/2006/relationships/image" Target="../media/image130.png"/><Relationship Id="rId4" Type="http://schemas.openxmlformats.org/officeDocument/2006/relationships/image" Target="../media/image70.png"/><Relationship Id="rId9" Type="http://schemas.openxmlformats.org/officeDocument/2006/relationships/image" Target="../media/image120.png"/><Relationship Id="rId14" Type="http://schemas.openxmlformats.org/officeDocument/2006/relationships/image" Target="../media/image170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5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7" Type="http://schemas.openxmlformats.org/officeDocument/2006/relationships/image" Target="NUL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../media/image22.png"/><Relationship Id="rId9" Type="http://schemas.openxmlformats.org/officeDocument/2006/relationships/image" Target="../media/image2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zhuanlan.zhihu.com/p/26514613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21" Type="http://schemas.openxmlformats.org/officeDocument/2006/relationships/image" Target="NULL"/><Relationship Id="rId2" Type="http://schemas.openxmlformats.org/officeDocument/2006/relationships/image" Target="../media/image11.png"/><Relationship Id="rId20" Type="http://schemas.openxmlformats.org/officeDocument/2006/relationships/image" Target="../media/image12.wmf"/><Relationship Id="rId1" Type="http://schemas.openxmlformats.org/officeDocument/2006/relationships/slideLayout" Target="../slideLayouts/slideLayout5.xml"/><Relationship Id="rId15" Type="http://schemas.openxmlformats.org/officeDocument/2006/relationships/image" Target="NULL"/><Relationship Id="rId19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.wmf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18" Type="http://schemas.openxmlformats.org/officeDocument/2006/relationships/image" Target="NULL"/><Relationship Id="rId21" Type="http://schemas.openxmlformats.org/officeDocument/2006/relationships/image" Target="NULL"/><Relationship Id="rId12" Type="http://schemas.openxmlformats.org/officeDocument/2006/relationships/image" Target="NULL"/><Relationship Id="rId20" Type="http://schemas.openxmlformats.org/officeDocument/2006/relationships/image" Target="NULL"/><Relationship Id="rId1" Type="http://schemas.openxmlformats.org/officeDocument/2006/relationships/slideLayout" Target="../slideLayouts/slideLayout5.xml"/><Relationship Id="rId19" Type="http://schemas.openxmlformats.org/officeDocument/2006/relationships/image" Target="../media/image12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11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../media/image14.png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9.xml.rels><?xml version="1.0" encoding="UTF-8" standalone="yes"?>
<Relationships xmlns="http://schemas.openxmlformats.org/package/2006/relationships"><Relationship Id="rId7" Type="http://schemas.openxmlformats.org/officeDocument/2006/relationships/image" Target="../media/image350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../media/image27.png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wmf"/><Relationship Id="rId13" Type="http://schemas.openxmlformats.org/officeDocument/2006/relationships/image" Target="NULL"/><Relationship Id="rId18" Type="http://schemas.openxmlformats.org/officeDocument/2006/relationships/image" Target="NULL"/><Relationship Id="rId7" Type="http://schemas.openxmlformats.org/officeDocument/2006/relationships/oleObject" Target="../embeddings/oleObject6.bin"/><Relationship Id="rId12" Type="http://schemas.openxmlformats.org/officeDocument/2006/relationships/image" Target="NULL"/><Relationship Id="rId17" Type="http://schemas.openxmlformats.org/officeDocument/2006/relationships/image" Target="NULL"/><Relationship Id="rId16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5" Type="http://schemas.openxmlformats.org/officeDocument/2006/relationships/image" Target="NULL"/><Relationship Id="rId10" Type="http://schemas.openxmlformats.org/officeDocument/2006/relationships/oleObject" Target="../embeddings/oleObject8.bin"/><Relationship Id="rId19" Type="http://schemas.openxmlformats.org/officeDocument/2006/relationships/image" Target="NULL"/><Relationship Id="rId9" Type="http://schemas.openxmlformats.org/officeDocument/2006/relationships/oleObject" Target="../embeddings/oleObject7.bin"/><Relationship Id="rId14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57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380.png"/><Relationship Id="rId10" Type="http://schemas.openxmlformats.org/officeDocument/2006/relationships/image" Target="../media/image390.png"/><Relationship Id="rId4" Type="http://schemas.openxmlformats.org/officeDocument/2006/relationships/image" Target="NUL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NULL"/></Relationships>
</file>

<file path=ppt/slides/_rels/slide59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30.png"/><Relationship Id="rId10" Type="http://schemas.openxmlformats.org/officeDocument/2006/relationships/image" Target="../media/image31.png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2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4.xml.rels><?xml version="1.0" encoding="UTF-8" standalone="yes"?>
<Relationships xmlns="http://schemas.openxmlformats.org/package/2006/relationships"><Relationship Id="rId7" Type="http://schemas.openxmlformats.org/officeDocument/2006/relationships/hyperlink" Target="https://www.zhihu.com/question/35602879" TargetMode="External"/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../media/image430.png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440.png"/><Relationship Id="rId7" Type="http://schemas.openxmlformats.org/officeDocument/2006/relationships/image" Target="NULL"/><Relationship Id="rId2" Type="http://schemas.openxmlformats.org/officeDocument/2006/relationships/image" Target="../media/image420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4" Type="http://schemas.openxmlformats.org/officeDocument/2006/relationships/image" Target="../media/image450.png"/><Relationship Id="rId9" Type="http://schemas.openxmlformats.org/officeDocument/2006/relationships/image" Target="../media/image50.pn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oleObject" Target="../embeddings/oleObject3.bin"/><Relationship Id="rId12" Type="http://schemas.openxmlformats.org/officeDocument/2006/relationships/image" Target="NULL"/><Relationship Id="rId2" Type="http://schemas.openxmlformats.org/officeDocument/2006/relationships/notesSlide" Target="../notesSlides/notesSlide3.xml"/><Relationship Id="rId16" Type="http://schemas.openxmlformats.org/officeDocument/2006/relationships/image" Target="NULL"/><Relationship Id="rId1" Type="http://schemas.openxmlformats.org/officeDocument/2006/relationships/slideLayout" Target="../slideLayouts/slideLayout5.xml"/><Relationship Id="rId11" Type="http://schemas.openxmlformats.org/officeDocument/2006/relationships/image" Target="NULL"/><Relationship Id="rId15" Type="http://schemas.openxmlformats.org/officeDocument/2006/relationships/image" Target="NULL"/><Relationship Id="rId10" Type="http://schemas.openxmlformats.org/officeDocument/2006/relationships/image" Target="../media/image3.png"/><Relationship Id="rId4" Type="http://schemas.openxmlformats.org/officeDocument/2006/relationships/image" Target="../media/image2.wmf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支持向量机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机器学习</a:t>
            </a:r>
            <a:endParaRPr lang="en-US" altLang="zh-CN" sz="28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5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17728" y="1785532"/>
            <a:ext cx="58873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fontAlgn="ctr"/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支持向量机简介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支持向量机优化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序列最小优化算法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支持向量机核方法</a:t>
            </a:r>
            <a:endParaRPr lang="zh-CN" altLang="zh-CN" sz="4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3787923" y="1883620"/>
                <a:ext cx="267002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87923" y="1883620"/>
                <a:ext cx="2670025" cy="369332"/>
              </a:xfrm>
              <a:prstGeom prst="rect">
                <a:avLst/>
              </a:prstGeom>
              <a:blipFill>
                <a:blip r:embed="rId5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打分函数</a:t>
            </a:r>
          </a:p>
        </p:txBody>
      </p:sp>
      <p:grpSp>
        <p:nvGrpSpPr>
          <p:cNvPr id="61" name="组合 60"/>
          <p:cNvGrpSpPr/>
          <p:nvPr/>
        </p:nvGrpSpPr>
        <p:grpSpPr>
          <a:xfrm>
            <a:off x="810173" y="2303613"/>
            <a:ext cx="3603566" cy="3301769"/>
            <a:chOff x="502442" y="2351685"/>
            <a:chExt cx="4192984" cy="3501014"/>
          </a:xfrm>
        </p:grpSpPr>
        <p:grpSp>
          <p:nvGrpSpPr>
            <p:cNvPr id="57" name="组合 56"/>
            <p:cNvGrpSpPr/>
            <p:nvPr/>
          </p:nvGrpSpPr>
          <p:grpSpPr>
            <a:xfrm>
              <a:off x="681738" y="2351685"/>
              <a:ext cx="4013688" cy="3468932"/>
              <a:chOff x="628650" y="1601616"/>
              <a:chExt cx="5017203" cy="4575347"/>
            </a:xfrm>
          </p:grpSpPr>
          <p:pic>
            <p:nvPicPr>
              <p:cNvPr id="43" name="图片 4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8650" y="1601616"/>
                <a:ext cx="5017203" cy="4575347"/>
              </a:xfrm>
              <a:prstGeom prst="rect">
                <a:avLst/>
              </a:prstGeom>
            </p:spPr>
          </p:pic>
          <p:cxnSp>
            <p:nvCxnSpPr>
              <p:cNvPr id="44" name="直接连接符 43"/>
              <p:cNvCxnSpPr/>
              <p:nvPr/>
            </p:nvCxnSpPr>
            <p:spPr>
              <a:xfrm>
                <a:off x="1235676" y="2677298"/>
                <a:ext cx="4127156" cy="2594918"/>
              </a:xfrm>
              <a:prstGeom prst="line">
                <a:avLst/>
              </a:prstGeom>
              <a:ln w="28575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/>
              <p:nvPr/>
            </p:nvCxnSpPr>
            <p:spPr>
              <a:xfrm>
                <a:off x="1342768" y="2240693"/>
                <a:ext cx="4011827" cy="2479588"/>
              </a:xfrm>
              <a:prstGeom prst="line">
                <a:avLst/>
              </a:prstGeom>
              <a:ln w="28575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/>
              <p:nvPr/>
            </p:nvCxnSpPr>
            <p:spPr>
              <a:xfrm>
                <a:off x="3204519" y="1878227"/>
                <a:ext cx="2150076" cy="1383957"/>
              </a:xfrm>
              <a:prstGeom prst="line">
                <a:avLst/>
              </a:prstGeom>
              <a:ln w="28575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/>
              <p:nvPr/>
            </p:nvCxnSpPr>
            <p:spPr>
              <a:xfrm>
                <a:off x="1741852" y="2990034"/>
                <a:ext cx="0" cy="27215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/>
              <p:cNvCxnSpPr/>
              <p:nvPr/>
            </p:nvCxnSpPr>
            <p:spPr>
              <a:xfrm>
                <a:off x="2357802" y="2864750"/>
                <a:ext cx="0" cy="764275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接连接符 48"/>
              <p:cNvCxnSpPr/>
              <p:nvPr/>
            </p:nvCxnSpPr>
            <p:spPr>
              <a:xfrm>
                <a:off x="3874182" y="2285630"/>
                <a:ext cx="0" cy="2283989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接连接符 49"/>
              <p:cNvCxnSpPr/>
              <p:nvPr/>
            </p:nvCxnSpPr>
            <p:spPr>
              <a:xfrm flipH="1">
                <a:off x="1628775" y="2990034"/>
                <a:ext cx="113079" cy="187043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接连接符 50"/>
              <p:cNvCxnSpPr/>
              <p:nvPr/>
            </p:nvCxnSpPr>
            <p:spPr>
              <a:xfrm flipH="1">
                <a:off x="2019300" y="2864750"/>
                <a:ext cx="342623" cy="554725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 flipH="1">
                <a:off x="2867025" y="2310025"/>
                <a:ext cx="1007159" cy="1639675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文本框 52"/>
              <p:cNvSpPr txBox="1"/>
              <p:nvPr/>
            </p:nvSpPr>
            <p:spPr>
              <a:xfrm>
                <a:off x="3324628" y="5006835"/>
                <a:ext cx="1294471" cy="4304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边界</a:t>
                </a:r>
                <a:endParaRPr lang="zh-CN" altLang="en-US" sz="1400" dirty="0">
                  <a:ea typeface="Alibaba PuHuiTi"/>
                </a:endParaRPr>
              </a:p>
            </p:txBody>
          </p:sp>
          <p:cxnSp>
            <p:nvCxnSpPr>
              <p:cNvPr id="54" name="直接箭头连接符 53"/>
              <p:cNvCxnSpPr>
                <a:stCxn id="53" idx="3"/>
              </p:cNvCxnSpPr>
              <p:nvPr/>
            </p:nvCxnSpPr>
            <p:spPr>
              <a:xfrm flipV="1">
                <a:off x="4553164" y="5151673"/>
                <a:ext cx="257734" cy="5266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矩形 58"/>
                <p:cNvSpPr/>
                <p:nvPr/>
              </p:nvSpPr>
              <p:spPr>
                <a:xfrm>
                  <a:off x="502442" y="2427022"/>
                  <a:ext cx="477310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59" name="矩形 5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442" y="2427022"/>
                  <a:ext cx="477310" cy="369332"/>
                </a:xfrm>
                <a:prstGeom prst="rect">
                  <a:avLst/>
                </a:prstGeom>
                <a:blipFill>
                  <a:blip r:embed="rId7"/>
                  <a:stretch>
                    <a:fillRect b="-7018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矩形 59"/>
                <p:cNvSpPr/>
                <p:nvPr/>
              </p:nvSpPr>
              <p:spPr>
                <a:xfrm>
                  <a:off x="4027474" y="5483367"/>
                  <a:ext cx="47198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60" name="矩形 5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27474" y="5483367"/>
                  <a:ext cx="471988" cy="369332"/>
                </a:xfrm>
                <a:prstGeom prst="rect">
                  <a:avLst/>
                </a:prstGeom>
                <a:blipFill>
                  <a:blip r:embed="rId8"/>
                  <a:stretch>
                    <a:fillRect b="-5172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矩形 61"/>
              <p:cNvSpPr/>
              <p:nvPr/>
            </p:nvSpPr>
            <p:spPr>
              <a:xfrm>
                <a:off x="5085938" y="2577645"/>
                <a:ext cx="2744021" cy="62914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d>
                                <m:dPr>
                                  <m:begChr m:val="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2" name="矩形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5938" y="2577645"/>
                <a:ext cx="2744021" cy="629147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矩形 62"/>
              <p:cNvSpPr/>
              <p:nvPr/>
            </p:nvSpPr>
            <p:spPr>
              <a:xfrm>
                <a:off x="5085938" y="3262536"/>
                <a:ext cx="3017108" cy="4349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</m:d>
                        </m:sup>
                      </m:sSub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3" name="矩形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5938" y="3262536"/>
                <a:ext cx="3017108" cy="434991"/>
              </a:xfrm>
              <a:prstGeom prst="rect">
                <a:avLst/>
              </a:prstGeom>
              <a:blipFill>
                <a:blip r:embed="rId10"/>
                <a:stretch>
                  <a:fillRect b="-97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矩形 63"/>
              <p:cNvSpPr/>
              <p:nvPr/>
            </p:nvSpPr>
            <p:spPr>
              <a:xfrm>
                <a:off x="5081513" y="4174103"/>
                <a:ext cx="3025957" cy="4349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</m:d>
                        </m:sup>
                      </m:sSub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4" name="矩形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1513" y="4174103"/>
                <a:ext cx="3025957" cy="434991"/>
              </a:xfrm>
              <a:prstGeom prst="rect">
                <a:avLst/>
              </a:prstGeom>
              <a:blipFill>
                <a:blip r:embed="rId11"/>
                <a:stretch>
                  <a:fillRect b="-98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矩形 64"/>
              <p:cNvSpPr/>
              <p:nvPr/>
            </p:nvSpPr>
            <p:spPr>
              <a:xfrm>
                <a:off x="5081513" y="4605199"/>
                <a:ext cx="3009285" cy="4349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</m:d>
                        </m:sup>
                      </m:sSub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5" name="矩形 6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1513" y="4605199"/>
                <a:ext cx="3009285" cy="434991"/>
              </a:xfrm>
              <a:prstGeom prst="rect">
                <a:avLst/>
              </a:prstGeom>
              <a:blipFill>
                <a:blip r:embed="rId12"/>
                <a:stretch>
                  <a:fillRect b="-97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矩形 65"/>
              <p:cNvSpPr/>
              <p:nvPr/>
            </p:nvSpPr>
            <p:spPr>
              <a:xfrm>
                <a:off x="5096954" y="5051904"/>
                <a:ext cx="111254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6" name="矩形 6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6954" y="5051904"/>
                <a:ext cx="1112549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页脚占位符 2">
            <a:extLst>
              <a:ext uri="{FF2B5EF4-FFF2-40B4-BE49-F238E27FC236}">
                <a16:creationId xmlns:a16="http://schemas.microsoft.com/office/drawing/2014/main" id="{212C3C6E-070A-4204-881E-86E1C6A64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249599"/>
            <a:ext cx="6371732" cy="194828"/>
          </a:xfrm>
        </p:spPr>
        <p:txBody>
          <a:bodyPr/>
          <a:lstStyle/>
          <a:p>
            <a:r>
              <a:rPr lang="en-US" altLang="zh-CN" dirty="0"/>
              <a:t>Hangout from Prof. Andrew Ng. https://cs229.stanford.edu/lectures-spring2022/main_notes.pdf</a:t>
            </a:r>
          </a:p>
        </p:txBody>
      </p:sp>
      <p:sp>
        <p:nvSpPr>
          <p:cNvPr id="2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91544"/>
            <a:ext cx="7660046" cy="6790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逻辑回归的打分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1220386" y="5723422"/>
            <a:ext cx="6657085" cy="48511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打分越高的样例越远离决策边界，具有更高的分类置信度</a:t>
            </a:r>
          </a:p>
        </p:txBody>
      </p:sp>
    </p:spTree>
    <p:extLst>
      <p:ext uri="{BB962C8B-B14F-4D97-AF65-F5344CB8AC3E}">
        <p14:creationId xmlns:p14="http://schemas.microsoft.com/office/powerpoint/2010/main" val="130570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支持向量机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792773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853101"/>
            <a:ext cx="7660046" cy="756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直观的最优决策边界：最高的分类置信度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70" name="直接连接符 69"/>
          <p:cNvCxnSpPr/>
          <p:nvPr/>
        </p:nvCxnSpPr>
        <p:spPr>
          <a:xfrm>
            <a:off x="3501083" y="3036407"/>
            <a:ext cx="1373014" cy="3097427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 flipH="1">
            <a:off x="3893794" y="3255852"/>
            <a:ext cx="779152" cy="27102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 flipH="1">
            <a:off x="4042077" y="3255852"/>
            <a:ext cx="969360" cy="27102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/>
          <p:cNvCxnSpPr/>
          <p:nvPr/>
        </p:nvCxnSpPr>
        <p:spPr>
          <a:xfrm flipH="1">
            <a:off x="3703955" y="3124047"/>
            <a:ext cx="373777" cy="284205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椭圆 73"/>
          <p:cNvSpPr/>
          <p:nvPr/>
        </p:nvSpPr>
        <p:spPr>
          <a:xfrm>
            <a:off x="3087078" y="379973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5" name="组合 74"/>
          <p:cNvGrpSpPr/>
          <p:nvPr/>
        </p:nvGrpSpPr>
        <p:grpSpPr>
          <a:xfrm>
            <a:off x="2594919" y="3506651"/>
            <a:ext cx="3560289" cy="2095386"/>
            <a:chOff x="2594919" y="3084615"/>
            <a:chExt cx="3560289" cy="2095386"/>
          </a:xfrm>
        </p:grpSpPr>
        <p:sp>
          <p:nvSpPr>
            <p:cNvPr id="76" name="十字形 75"/>
            <p:cNvSpPr/>
            <p:nvPr/>
          </p:nvSpPr>
          <p:spPr>
            <a:xfrm flipH="1">
              <a:off x="2924433" y="338575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十字形 76"/>
            <p:cNvSpPr/>
            <p:nvPr/>
          </p:nvSpPr>
          <p:spPr>
            <a:xfrm flipH="1">
              <a:off x="3575222" y="384670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十字形 77"/>
            <p:cNvSpPr/>
            <p:nvPr/>
          </p:nvSpPr>
          <p:spPr>
            <a:xfrm flipH="1">
              <a:off x="3171568" y="426683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9" name="十字形 78"/>
            <p:cNvSpPr/>
            <p:nvPr/>
          </p:nvSpPr>
          <p:spPr>
            <a:xfrm flipH="1">
              <a:off x="3575222" y="4629300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十字形 79"/>
            <p:cNvSpPr/>
            <p:nvPr/>
          </p:nvSpPr>
          <p:spPr>
            <a:xfrm flipH="1">
              <a:off x="2594919" y="402757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十字形 80"/>
            <p:cNvSpPr/>
            <p:nvPr/>
          </p:nvSpPr>
          <p:spPr>
            <a:xfrm flipH="1">
              <a:off x="2833817" y="4661521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十字形 81"/>
            <p:cNvSpPr/>
            <p:nvPr/>
          </p:nvSpPr>
          <p:spPr>
            <a:xfrm flipH="1">
              <a:off x="3352800" y="4998769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矩形 82"/>
            <p:cNvSpPr/>
            <p:nvPr/>
          </p:nvSpPr>
          <p:spPr>
            <a:xfrm>
              <a:off x="4794422" y="382384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4" name="矩形 83"/>
            <p:cNvSpPr/>
            <p:nvPr/>
          </p:nvSpPr>
          <p:spPr>
            <a:xfrm>
              <a:off x="5268097" y="416308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5103340" y="4525550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>
            <a:xfrm>
              <a:off x="5457568" y="497590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7" name="矩形 86"/>
            <p:cNvSpPr/>
            <p:nvPr/>
          </p:nvSpPr>
          <p:spPr>
            <a:xfrm>
              <a:off x="5934074" y="356698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>
            <a:xfrm>
              <a:off x="5949262" y="407246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矩形 88"/>
            <p:cNvSpPr/>
            <p:nvPr/>
          </p:nvSpPr>
          <p:spPr>
            <a:xfrm>
              <a:off x="5457568" y="362206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0" name="矩形 89"/>
            <p:cNvSpPr/>
            <p:nvPr/>
          </p:nvSpPr>
          <p:spPr>
            <a:xfrm>
              <a:off x="5206313" y="327607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1" name="十字形 90"/>
            <p:cNvSpPr/>
            <p:nvPr/>
          </p:nvSpPr>
          <p:spPr>
            <a:xfrm flipH="1">
              <a:off x="3278660" y="308461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2" name="直接连接符 91"/>
          <p:cNvCxnSpPr/>
          <p:nvPr/>
        </p:nvCxnSpPr>
        <p:spPr>
          <a:xfrm>
            <a:off x="4238400" y="2992241"/>
            <a:ext cx="0" cy="315509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椭圆 92"/>
          <p:cNvSpPr/>
          <p:nvPr/>
        </p:nvSpPr>
        <p:spPr>
          <a:xfrm>
            <a:off x="2789816" y="308249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椭圆 93"/>
          <p:cNvSpPr/>
          <p:nvPr/>
        </p:nvSpPr>
        <p:spPr>
          <a:xfrm>
            <a:off x="2451694" y="333484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椭圆 94"/>
          <p:cNvSpPr/>
          <p:nvPr/>
        </p:nvSpPr>
        <p:spPr>
          <a:xfrm>
            <a:off x="2104706" y="396629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椭圆 95"/>
          <p:cNvSpPr/>
          <p:nvPr/>
        </p:nvSpPr>
        <p:spPr>
          <a:xfrm>
            <a:off x="2692437" y="4196752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椭圆 96"/>
          <p:cNvSpPr/>
          <p:nvPr/>
        </p:nvSpPr>
        <p:spPr>
          <a:xfrm>
            <a:off x="2346302" y="4635095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椭圆 97"/>
          <p:cNvSpPr/>
          <p:nvPr/>
        </p:nvSpPr>
        <p:spPr>
          <a:xfrm>
            <a:off x="3087078" y="466086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椭圆 98"/>
          <p:cNvSpPr/>
          <p:nvPr/>
        </p:nvSpPr>
        <p:spPr>
          <a:xfrm>
            <a:off x="2848272" y="495832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椭圆 99"/>
          <p:cNvSpPr/>
          <p:nvPr/>
        </p:nvSpPr>
        <p:spPr>
          <a:xfrm>
            <a:off x="4264406" y="369811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椭圆 100"/>
          <p:cNvSpPr/>
          <p:nvPr/>
        </p:nvSpPr>
        <p:spPr>
          <a:xfrm>
            <a:off x="4706012" y="316990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椭圆 101"/>
          <p:cNvSpPr/>
          <p:nvPr/>
        </p:nvSpPr>
        <p:spPr>
          <a:xfrm>
            <a:off x="4972248" y="347017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椭圆 102"/>
          <p:cNvSpPr/>
          <p:nvPr/>
        </p:nvSpPr>
        <p:spPr>
          <a:xfrm>
            <a:off x="5462828" y="344914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椭圆 103"/>
          <p:cNvSpPr/>
          <p:nvPr/>
        </p:nvSpPr>
        <p:spPr>
          <a:xfrm>
            <a:off x="5527583" y="394343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椭圆 104"/>
          <p:cNvSpPr/>
          <p:nvPr/>
        </p:nvSpPr>
        <p:spPr>
          <a:xfrm>
            <a:off x="4817992" y="4044099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椭圆 105"/>
          <p:cNvSpPr/>
          <p:nvPr/>
        </p:nvSpPr>
        <p:spPr>
          <a:xfrm>
            <a:off x="4629572" y="4396518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椭圆 106"/>
          <p:cNvSpPr/>
          <p:nvPr/>
        </p:nvSpPr>
        <p:spPr>
          <a:xfrm>
            <a:off x="4955765" y="4856284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20121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决策边界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05414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符号说明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1928498"/>
                <a:ext cx="8137923" cy="405103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向量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标签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1, 1</m:t>
                        </m:r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截距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𝑏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权重向量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𝑤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签预测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1928498"/>
                <a:ext cx="8137923" cy="4051032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3511385" y="5146730"/>
                <a:ext cx="2478627" cy="386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⊤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11385" y="5146730"/>
                <a:ext cx="2478627" cy="386452"/>
              </a:xfrm>
              <a:prstGeom prst="rect">
                <a:avLst/>
              </a:prstGeom>
              <a:blipFill>
                <a:blip r:embed="rId5"/>
                <a:stretch>
                  <a:fillRect b="-937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378624" y="5601600"/>
                <a:ext cx="2744148" cy="71019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e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≥0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otherwise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8624" y="5601600"/>
                <a:ext cx="2744148" cy="710194"/>
              </a:xfrm>
              <a:prstGeom prst="rect">
                <a:avLst/>
              </a:prstGeom>
              <a:blipFill>
                <a:blip r:embed="rId6"/>
                <a:stretch>
                  <a:fillRect l="-10138" t="-194643" b="-2821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847520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4713331" y="2004645"/>
            <a:ext cx="3676160" cy="3516781"/>
            <a:chOff x="628650" y="1601616"/>
            <a:chExt cx="5017203" cy="4575347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650" y="1601616"/>
              <a:ext cx="5017203" cy="4575347"/>
            </a:xfrm>
            <a:prstGeom prst="rect">
              <a:avLst/>
            </a:prstGeom>
          </p:spPr>
        </p:pic>
        <p:cxnSp>
          <p:nvCxnSpPr>
            <p:cNvPr id="30" name="直接连接符 29"/>
            <p:cNvCxnSpPr/>
            <p:nvPr/>
          </p:nvCxnSpPr>
          <p:spPr>
            <a:xfrm flipH="1">
              <a:off x="2019300" y="2864750"/>
              <a:ext cx="342623" cy="554725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31"/>
            <p:cNvCxnSpPr/>
            <p:nvPr/>
          </p:nvCxnSpPr>
          <p:spPr>
            <a:xfrm>
              <a:off x="4465460" y="5151672"/>
              <a:ext cx="34543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/>
            <p:nvPr/>
          </p:nvCxnSpPr>
          <p:spPr>
            <a:xfrm flipV="1">
              <a:off x="2593707" y="3080951"/>
              <a:ext cx="421342" cy="700217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906277"/>
            <a:ext cx="7660046" cy="571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间隔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边界间隔</a:t>
            </a:r>
          </a:p>
        </p:txBody>
      </p:sp>
      <p:sp>
        <p:nvSpPr>
          <p:cNvPr id="53" name="文本框 52"/>
          <p:cNvSpPr txBox="1"/>
          <p:nvPr/>
        </p:nvSpPr>
        <p:spPr>
          <a:xfrm>
            <a:off x="6662868" y="4540111"/>
            <a:ext cx="889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边界</a:t>
            </a:r>
            <a:endParaRPr lang="zh-CN" altLang="en-US" sz="1400" dirty="0">
              <a:latin typeface="Alibaba PuHuiTi"/>
              <a:ea typeface="Alibaba PuHuiT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矩形 58"/>
              <p:cNvSpPr/>
              <p:nvPr/>
            </p:nvSpPr>
            <p:spPr>
              <a:xfrm>
                <a:off x="4625203" y="2084951"/>
                <a:ext cx="410213" cy="3483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9" name="矩形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5203" y="2084951"/>
                <a:ext cx="410213" cy="348313"/>
              </a:xfrm>
              <a:prstGeom prst="rect">
                <a:avLst/>
              </a:prstGeom>
              <a:blipFill>
                <a:blip r:embed="rId6"/>
                <a:stretch>
                  <a:fillRect b="-70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矩形 59"/>
              <p:cNvSpPr/>
              <p:nvPr/>
            </p:nvSpPr>
            <p:spPr>
              <a:xfrm>
                <a:off x="7756849" y="5164322"/>
                <a:ext cx="405639" cy="3483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0" name="矩形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6849" y="5164322"/>
                <a:ext cx="405639" cy="348313"/>
              </a:xfrm>
              <a:prstGeom prst="rect">
                <a:avLst/>
              </a:prstGeom>
              <a:blipFill>
                <a:blip r:embed="rId7"/>
                <a:stretch>
                  <a:fillRect b="-70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749860" y="3030661"/>
                <a:ext cx="651910" cy="38792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9860" y="3030661"/>
                <a:ext cx="651910" cy="387927"/>
              </a:xfrm>
              <a:prstGeom prst="rect">
                <a:avLst/>
              </a:prstGeom>
              <a:blipFill>
                <a:blip r:embed="rId8"/>
                <a:stretch>
                  <a:fillRect b="-62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6423064" y="2880484"/>
                <a:ext cx="42056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3064" y="2880484"/>
                <a:ext cx="420564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775530" y="2582940"/>
                <a:ext cx="2522293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𝛾</m:t>
                              </m:r>
                            </m:e>
                          </m:acc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530" y="2582940"/>
                <a:ext cx="2522293" cy="410177"/>
              </a:xfrm>
              <a:prstGeom prst="rect">
                <a:avLst/>
              </a:prstGeom>
              <a:blipFill>
                <a:blip r:embed="rId10"/>
                <a:stretch>
                  <a:fillRect b="-29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236750"/>
                <a:ext cx="4532974" cy="110701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割超平面不会随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m:rPr>
                        <m:sty m:val="p"/>
                      </m:rP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𝑏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幅值改变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而改变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236750"/>
                <a:ext cx="4532974" cy="1107019"/>
              </a:xfrm>
              <a:prstGeom prst="rect">
                <a:avLst/>
              </a:prstGeom>
              <a:blipFill>
                <a:blip r:embed="rId11"/>
                <a:stretch>
                  <a:fillRect l="-8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775530" y="4325566"/>
                <a:ext cx="315791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2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530" y="4325566"/>
                <a:ext cx="3157916" cy="369332"/>
              </a:xfrm>
              <a:prstGeom prst="rect">
                <a:avLst/>
              </a:prstGeom>
              <a:blipFill>
                <a:blip r:embed="rId12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888343"/>
            <a:ext cx="7660046" cy="571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几何间隔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681738" y="5487038"/>
                <a:ext cx="4472745" cy="4101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where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5487038"/>
                <a:ext cx="4472745" cy="410177"/>
              </a:xfrm>
              <a:prstGeom prst="rect">
                <a:avLst/>
              </a:prstGeom>
              <a:blipFill>
                <a:blip r:embed="rId13"/>
                <a:stretch>
                  <a:fillRect b="-104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575787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4713331" y="2004645"/>
            <a:ext cx="3676160" cy="3516781"/>
            <a:chOff x="628650" y="1601616"/>
            <a:chExt cx="5017203" cy="4575347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650" y="1601616"/>
              <a:ext cx="5017203" cy="4575347"/>
            </a:xfrm>
            <a:prstGeom prst="rect">
              <a:avLst/>
            </a:prstGeom>
          </p:spPr>
        </p:pic>
        <p:cxnSp>
          <p:nvCxnSpPr>
            <p:cNvPr id="30" name="直接连接符 29"/>
            <p:cNvCxnSpPr/>
            <p:nvPr/>
          </p:nvCxnSpPr>
          <p:spPr>
            <a:xfrm flipH="1">
              <a:off x="2019300" y="2864750"/>
              <a:ext cx="342623" cy="554725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31"/>
            <p:cNvCxnSpPr/>
            <p:nvPr/>
          </p:nvCxnSpPr>
          <p:spPr>
            <a:xfrm>
              <a:off x="4465460" y="5151672"/>
              <a:ext cx="34543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/>
            <p:nvPr/>
          </p:nvCxnSpPr>
          <p:spPr>
            <a:xfrm flipV="1">
              <a:off x="2593707" y="3080951"/>
              <a:ext cx="421342" cy="700217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906277"/>
            <a:ext cx="7660046" cy="571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边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边界间隔</a:t>
            </a:r>
          </a:p>
        </p:txBody>
      </p:sp>
      <p:sp>
        <p:nvSpPr>
          <p:cNvPr id="53" name="文本框 52"/>
          <p:cNvSpPr txBox="1"/>
          <p:nvPr/>
        </p:nvSpPr>
        <p:spPr>
          <a:xfrm>
            <a:off x="6662868" y="4540111"/>
            <a:ext cx="889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边界</a:t>
            </a:r>
            <a:endParaRPr lang="zh-CN" altLang="en-US" sz="1400" dirty="0">
              <a:latin typeface="Alibaba PuHuiTi"/>
              <a:ea typeface="Alibaba PuHuiT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矩形 58"/>
              <p:cNvSpPr/>
              <p:nvPr/>
            </p:nvSpPr>
            <p:spPr>
              <a:xfrm>
                <a:off x="4625203" y="2084951"/>
                <a:ext cx="410213" cy="3483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9" name="矩形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5203" y="2084951"/>
                <a:ext cx="410213" cy="348313"/>
              </a:xfrm>
              <a:prstGeom prst="rect">
                <a:avLst/>
              </a:prstGeom>
              <a:blipFill>
                <a:blip r:embed="rId6"/>
                <a:stretch>
                  <a:fillRect b="-70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矩形 59"/>
              <p:cNvSpPr/>
              <p:nvPr/>
            </p:nvSpPr>
            <p:spPr>
              <a:xfrm>
                <a:off x="7756849" y="5164322"/>
                <a:ext cx="405639" cy="3483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0" name="矩形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6849" y="5164322"/>
                <a:ext cx="405639" cy="348313"/>
              </a:xfrm>
              <a:prstGeom prst="rect">
                <a:avLst/>
              </a:prstGeom>
              <a:blipFill>
                <a:blip r:embed="rId7"/>
                <a:stretch>
                  <a:fillRect b="-70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749860" y="3030661"/>
                <a:ext cx="651910" cy="38792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9860" y="3030661"/>
                <a:ext cx="651910" cy="387927"/>
              </a:xfrm>
              <a:prstGeom prst="rect">
                <a:avLst/>
              </a:prstGeom>
              <a:blipFill>
                <a:blip r:embed="rId8"/>
                <a:stretch>
                  <a:fillRect b="-62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6423064" y="2880484"/>
                <a:ext cx="42056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3064" y="2880484"/>
                <a:ext cx="420564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431325"/>
                <a:ext cx="7660046" cy="5716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训练集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d>
                          <m:dPr>
                            <m:begChr m:val="{"/>
                            <m:endChr m:val="}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 </m:t>
                                </m:r>
                                <m:sSub>
                                  <m:sSub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e>
                        </m:d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最小几何间隔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4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431325"/>
                <a:ext cx="7660046" cy="571601"/>
              </a:xfrm>
              <a:prstGeom prst="rect">
                <a:avLst/>
              </a:prstGeom>
              <a:blipFill>
                <a:blip r:embed="rId10"/>
                <a:stretch>
                  <a:fillRect l="-477" b="-106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232378" y="2456995"/>
                <a:ext cx="3319242" cy="601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num>
                        <m:den>
                          <m:d>
                            <m:dPr>
                              <m:begChr m:val="‖"/>
                              <m:endChr m:val="‖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den>
                      </m:f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2378" y="2456995"/>
                <a:ext cx="3319242" cy="60196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977365" y="3399347"/>
                <a:ext cx="2617896" cy="71423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  <m:r>
                            <a:rPr lang="zh-CN" altLang="en-US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7365" y="3399347"/>
                <a:ext cx="2617896" cy="71423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1657986" y="4191779"/>
                <a:ext cx="2672783" cy="7087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</m:oMath>
                </a14:m>
                <a:r>
                  <a:rPr lang="en-US" altLang="zh-CN" dirty="0"/>
                  <a:t>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num>
                                  <m:den>
                                    <m:d>
                                      <m:dPr>
                                        <m:begChr m:val="‖"/>
                                        <m:endChr m:val="‖"/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𝑤</m:t>
                                        </m:r>
                                      </m:e>
                                    </m:d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num>
                          <m:den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</m:den>
                        </m:f>
                      </m:e>
                    </m:d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7986" y="4191779"/>
                <a:ext cx="2672783" cy="70872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3833466" y="6007526"/>
                <a:ext cx="2115516" cy="4064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zh-CN" altLang="en-US" i="0">
                              <a:latin typeface="Cambria Math" panose="02040503050406030204" pitchFamily="18" charset="0"/>
                            </a:rPr>
                            <m:t>min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3466" y="6007526"/>
                <a:ext cx="2115516" cy="406458"/>
              </a:xfrm>
              <a:prstGeom prst="rect">
                <a:avLst/>
              </a:prstGeom>
              <a:blipFill>
                <a:blip r:embed="rId14"/>
                <a:stretch>
                  <a:fillRect b="-14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553427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寻找一个使最小几何间隔达到最大值的分割超平面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613835" y="2564570"/>
                <a:ext cx="1040348" cy="4859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𝛾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  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fun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3835" y="2564570"/>
                <a:ext cx="1040348" cy="485967"/>
              </a:xfrm>
              <a:prstGeom prst="rect">
                <a:avLst/>
              </a:prstGeom>
              <a:blipFill>
                <a:blip r:embed="rId2"/>
                <a:stretch>
                  <a:fillRect b="-2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613835" y="3083239"/>
                <a:ext cx="4466159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3835" y="3083239"/>
                <a:ext cx="4466159" cy="410177"/>
              </a:xfrm>
              <a:prstGeom prst="rect">
                <a:avLst/>
              </a:prstGeom>
              <a:blipFill>
                <a:blip r:embed="rId5"/>
                <a:stretch>
                  <a:fillRect b="-29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/>
              <p:cNvSpPr txBox="1"/>
              <p:nvPr/>
            </p:nvSpPr>
            <p:spPr>
              <a:xfrm>
                <a:off x="3177715" y="3587347"/>
                <a:ext cx="31459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d>
                      <m:dPr>
                        <m:begChr m:val="‖"/>
                        <m:endChr m:val="‖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凸约束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文本框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7715" y="3587347"/>
                <a:ext cx="3145968" cy="369332"/>
              </a:xfrm>
              <a:prstGeom prst="rect">
                <a:avLst/>
              </a:prstGeom>
              <a:blipFill>
                <a:blip r:embed="rId6"/>
                <a:stretch>
                  <a:fillRect t="-6667" r="-806" b="-23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4203976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同于归一化函数间隔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2613835" y="4918246"/>
                <a:ext cx="4122732" cy="5934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limLow>
                      <m:limLowPr>
                        <m:ctrlPr>
                          <a:rPr lang="zh-CN" altLang="en-US" i="1" smtClean="0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zh-CN" altLang="en-US">
                            <a:latin typeface="Cambria Math" panose="02040503050406030204" pitchFamily="18" charset="0"/>
                          </a:rPr>
                          <m:t>max</m:t>
                        </m:r>
                      </m:e>
                      <m:lim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  <m:sub>
                            <m:acc>
                              <m:accPr>
                                <m:chr m:val="̂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</m:acc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lim>
                    </m:limLow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  </m:t>
                    </m:r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acc>
                          <m:accPr>
                            <m:chr m:val="̂"/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𝛾</m:t>
                            </m:r>
                          </m:e>
                        </m:acc>
                      </m:num>
                      <m:den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‖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‖</m:t>
                        </m:r>
                      </m:den>
                    </m:f>
                  </m:oMath>
                </a14:m>
                <a:r>
                  <a:rPr lang="zh-CN" altLang="en-US" dirty="0"/>
                  <a:t>                    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凸目标函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3835" y="4918246"/>
                <a:ext cx="4122732" cy="593432"/>
              </a:xfrm>
              <a:prstGeom prst="rect">
                <a:avLst/>
              </a:prstGeom>
              <a:blipFill>
                <a:blip r:embed="rId7"/>
                <a:stretch>
                  <a:fillRect t="-10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613835" y="5649980"/>
                <a:ext cx="4639282" cy="4241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acc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3835" y="5649980"/>
                <a:ext cx="4639282" cy="42415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34904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8"/>
                <a:ext cx="7660046" cy="199356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类间隔的变化不会改变决策边界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函数间隔固定为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8"/>
                <a:ext cx="7660046" cy="1993561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/>
              <p:cNvSpPr txBox="1"/>
              <p:nvPr/>
            </p:nvSpPr>
            <p:spPr>
              <a:xfrm>
                <a:off x="2759480" y="2753294"/>
                <a:ext cx="31459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acc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文本框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9480" y="2753294"/>
                <a:ext cx="3145968" cy="369332"/>
              </a:xfrm>
              <a:prstGeom prst="rect">
                <a:avLst/>
              </a:prstGeom>
              <a:blipFill>
                <a:blip r:embed="rId5"/>
                <a:stretch>
                  <a:fillRect t="-6667" b="-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2759480" y="3528354"/>
                <a:ext cx="1278234" cy="6594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</m:sSub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9480" y="3528354"/>
                <a:ext cx="1278234" cy="65941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759480" y="4199461"/>
                <a:ext cx="4639282" cy="4241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9480" y="4199461"/>
                <a:ext cx="4639282" cy="42415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2994981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函数重写成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7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4426815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函数等同于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2759480" y="4755588"/>
                <a:ext cx="1469441" cy="6501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in</m:t>
                          </m:r>
                        </m:e>
                        <m:li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</m:sSub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e>
                        <m:sup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9480" y="4755588"/>
                <a:ext cx="1469441" cy="65017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/>
              <p:cNvSpPr/>
              <p:nvPr/>
            </p:nvSpPr>
            <p:spPr>
              <a:xfrm>
                <a:off x="2794648" y="5427048"/>
                <a:ext cx="4639282" cy="4241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9" name="矩形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4648" y="5427048"/>
                <a:ext cx="4639282" cy="424155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5870690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此优化问题可以由二次规划算法有效求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04890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支持向量机优化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35575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idx="1"/>
          </p:nvPr>
        </p:nvSpPr>
        <p:spPr>
          <a:xfrm>
            <a:off x="5313221" y="3035041"/>
            <a:ext cx="3179425" cy="328473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2"/>
          </p:nvPr>
        </p:nvSpPr>
        <p:spPr>
          <a:xfrm>
            <a:off x="4428196" y="2986884"/>
            <a:ext cx="636022" cy="407781"/>
          </a:xfrm>
        </p:spPr>
        <p:txBody>
          <a:bodyPr/>
          <a:lstStyle/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idx="13"/>
          </p:nvPr>
        </p:nvSpPr>
        <p:spPr>
          <a:xfrm>
            <a:off x="5313221" y="3805238"/>
            <a:ext cx="3179425" cy="328473"/>
          </a:xfrm>
        </p:spPr>
        <p:txBody>
          <a:bodyPr>
            <a:noAutofit/>
          </a:bodyPr>
          <a:lstStyle/>
          <a:p>
            <a:r>
              <a:rPr lang="zh-CN" altLang="en-US" dirty="0"/>
              <a:t>支持向量机优化求解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idx="14"/>
          </p:nvPr>
        </p:nvSpPr>
        <p:spPr>
          <a:xfrm>
            <a:off x="4428196" y="3765585"/>
            <a:ext cx="636022" cy="407781"/>
          </a:xfrm>
        </p:spPr>
        <p:txBody>
          <a:bodyPr/>
          <a:lstStyle/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339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支持向量机简介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Autofit/>
          </a:bodyPr>
          <a:lstStyle/>
          <a:p>
            <a:r>
              <a:rPr lang="zh-CN" altLang="en-US" dirty="0"/>
              <a:t>拉格朗日</a:t>
            </a:r>
            <a:br>
              <a:rPr lang="en-US" altLang="zh-CN" dirty="0"/>
            </a:br>
            <a:r>
              <a:rPr lang="zh-CN" altLang="en-US" dirty="0"/>
              <a:t>对偶问题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528627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9034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等式凸优化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凸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3136667" y="2458167"/>
                <a:ext cx="1636717" cy="7298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</m:oMath>
                  </m:oMathPara>
                </a14:m>
                <a:endParaRPr lang="en-US" altLang="zh-CN" b="0" dirty="0"/>
              </a:p>
              <a:p>
                <a:endParaRPr lang="zh-CN" altLang="en-US" dirty="0"/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6667" y="2458167"/>
                <a:ext cx="1636717" cy="72981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3136667" y="2895406"/>
                <a:ext cx="342414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 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=  0, 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𝑙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6667" y="2895406"/>
                <a:ext cx="3424142" cy="369332"/>
              </a:xfrm>
              <a:prstGeom prst="rect">
                <a:avLst/>
              </a:prstGeom>
              <a:blipFill>
                <a:blip r:embed="rId5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276267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问题的拉格朗日函数定义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3136667" y="3952090"/>
                <a:ext cx="3228063" cy="87690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6667" y="3952090"/>
                <a:ext cx="3228063" cy="87690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组合 5"/>
          <p:cNvGrpSpPr/>
          <p:nvPr/>
        </p:nvGrpSpPr>
        <p:grpSpPr>
          <a:xfrm>
            <a:off x="5512778" y="4607169"/>
            <a:ext cx="1969476" cy="592381"/>
            <a:chOff x="5512778" y="4607169"/>
            <a:chExt cx="1969476" cy="592381"/>
          </a:xfrm>
        </p:grpSpPr>
        <p:cxnSp>
          <p:nvCxnSpPr>
            <p:cNvPr id="33" name="肘形连接符 32"/>
            <p:cNvCxnSpPr>
              <a:stCxn id="36" idx="1"/>
            </p:cNvCxnSpPr>
            <p:nvPr/>
          </p:nvCxnSpPr>
          <p:spPr>
            <a:xfrm rot="10800000">
              <a:off x="5512778" y="4607169"/>
              <a:ext cx="271365" cy="374430"/>
            </a:xfrm>
            <a:prstGeom prst="bentConnector2">
              <a:avLst/>
            </a:prstGeom>
            <a:ln w="158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文本占位符 3">
              <a:extLst>
                <a:ext uri="{FF2B5EF4-FFF2-40B4-BE49-F238E27FC236}">
                  <a16:creationId xmlns:a16="http://schemas.microsoft.com/office/drawing/2014/main" id="{B6F3BB87-5DED-0D46-A3DE-44F3E77EE66A}"/>
                </a:ext>
              </a:extLst>
            </p:cNvPr>
            <p:cNvSpPr txBox="1">
              <a:spLocks/>
            </p:cNvSpPr>
            <p:nvPr/>
          </p:nvSpPr>
          <p:spPr>
            <a:xfrm>
              <a:off x="5784142" y="4763647"/>
              <a:ext cx="1698112" cy="435903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txBody>
            <a:bodyPr vert="horz" lIns="91440" tIns="45720" rIns="91440" bIns="4572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800" b="0" dirty="0">
                  <a:solidFill>
                    <a:schemeClr val="accent1"/>
                  </a:solidFill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rPr>
                <a:t>拉格朗日乘子</a:t>
              </a:r>
              <a:endParaRPr lang="en-US" altLang="zh-CN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endParaRPr>
            </a:p>
          </p:txBody>
        </p:sp>
      </p:grpSp>
      <p:sp>
        <p:nvSpPr>
          <p:cNvPr id="3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996177"/>
            <a:ext cx="7660046" cy="15466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lnSpc>
                <a:spcPct val="20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可得原优化问题的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矩形 39"/>
              <p:cNvSpPr/>
              <p:nvPr/>
            </p:nvSpPr>
            <p:spPr>
              <a:xfrm>
                <a:off x="1997144" y="5016227"/>
                <a:ext cx="3403111" cy="6765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ℒ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    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ℒ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0" name="矩形 3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7144" y="5016227"/>
                <a:ext cx="3403111" cy="6765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287101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5509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拉格朗日函数解析</a:t>
            </a:r>
          </a:p>
        </p:txBody>
      </p:sp>
      <p:sp>
        <p:nvSpPr>
          <p:cNvPr id="3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0" y="4938290"/>
            <a:ext cx="7660046" cy="884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拉格朗日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1914658" y="1827724"/>
            <a:ext cx="4835611" cy="3245708"/>
            <a:chOff x="1828800" y="2323070"/>
            <a:chExt cx="4835611" cy="3245708"/>
          </a:xfrm>
        </p:grpSpPr>
        <p:cxnSp>
          <p:nvCxnSpPr>
            <p:cNvPr id="15" name="直接箭头连接符 14"/>
            <p:cNvCxnSpPr/>
            <p:nvPr/>
          </p:nvCxnSpPr>
          <p:spPr>
            <a:xfrm>
              <a:off x="1828800" y="5568778"/>
              <a:ext cx="4835611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直接箭头连接符 15"/>
            <p:cNvCxnSpPr/>
            <p:nvPr/>
          </p:nvCxnSpPr>
          <p:spPr>
            <a:xfrm flipV="1">
              <a:off x="1828800" y="2323070"/>
              <a:ext cx="0" cy="3245708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椭圆 16"/>
            <p:cNvSpPr/>
            <p:nvPr/>
          </p:nvSpPr>
          <p:spPr>
            <a:xfrm rot="537808">
              <a:off x="3203534" y="3464961"/>
              <a:ext cx="1511780" cy="868153"/>
            </a:xfrm>
            <a:prstGeom prst="ellipse">
              <a:avLst/>
            </a:prstGeom>
            <a:noFill/>
            <a:ln w="19050"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椭圆 17"/>
            <p:cNvSpPr/>
            <p:nvPr/>
          </p:nvSpPr>
          <p:spPr>
            <a:xfrm rot="537808">
              <a:off x="2329121" y="2959508"/>
              <a:ext cx="4217730" cy="2178673"/>
            </a:xfrm>
            <a:prstGeom prst="ellipse">
              <a:avLst/>
            </a:prstGeom>
            <a:noFill/>
            <a:ln w="19050"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椭圆 18"/>
            <p:cNvSpPr/>
            <p:nvPr/>
          </p:nvSpPr>
          <p:spPr>
            <a:xfrm rot="537808">
              <a:off x="2699801" y="3191482"/>
              <a:ext cx="3203302" cy="1502614"/>
            </a:xfrm>
            <a:prstGeom prst="ellipse">
              <a:avLst/>
            </a:prstGeom>
            <a:noFill/>
            <a:ln w="19050"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任意多边形 24"/>
            <p:cNvSpPr/>
            <p:nvPr/>
          </p:nvSpPr>
          <p:spPr>
            <a:xfrm>
              <a:off x="2215978" y="3987113"/>
              <a:ext cx="4374292" cy="1573427"/>
            </a:xfrm>
            <a:custGeom>
              <a:avLst/>
              <a:gdLst>
                <a:gd name="connsiteX0" fmla="*/ 0 w 4374292"/>
                <a:gd name="connsiteY0" fmla="*/ 1573427 h 1573427"/>
                <a:gd name="connsiteX1" fmla="*/ 1383957 w 4374292"/>
                <a:gd name="connsiteY1" fmla="*/ 403654 h 1573427"/>
                <a:gd name="connsiteX2" fmla="*/ 3566984 w 4374292"/>
                <a:gd name="connsiteY2" fmla="*/ 568411 h 1573427"/>
                <a:gd name="connsiteX3" fmla="*/ 4374292 w 4374292"/>
                <a:gd name="connsiteY3" fmla="*/ 0 h 157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74292" h="1573427">
                  <a:moveTo>
                    <a:pt x="0" y="1573427"/>
                  </a:moveTo>
                  <a:cubicBezTo>
                    <a:pt x="394730" y="1072292"/>
                    <a:pt x="789460" y="571157"/>
                    <a:pt x="1383957" y="403654"/>
                  </a:cubicBezTo>
                  <a:cubicBezTo>
                    <a:pt x="1978454" y="236151"/>
                    <a:pt x="3068595" y="635687"/>
                    <a:pt x="3566984" y="568411"/>
                  </a:cubicBezTo>
                  <a:cubicBezTo>
                    <a:pt x="4065373" y="501135"/>
                    <a:pt x="4239741" y="85124"/>
                    <a:pt x="4374292" y="0"/>
                  </a:cubicBezTo>
                </a:path>
              </a:pathLst>
            </a:custGeom>
            <a:ln>
              <a:solidFill>
                <a:srgbClr val="00B0F0"/>
              </a:solidFill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 rot="537808">
              <a:off x="3499970" y="3634962"/>
              <a:ext cx="839444" cy="482058"/>
            </a:xfrm>
            <a:prstGeom prst="ellipse">
              <a:avLst/>
            </a:prstGeom>
            <a:noFill/>
            <a:ln w="19050"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椭圆 26"/>
            <p:cNvSpPr/>
            <p:nvPr/>
          </p:nvSpPr>
          <p:spPr>
            <a:xfrm>
              <a:off x="3967662" y="4300152"/>
              <a:ext cx="82378" cy="82378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9" name="直接箭头连接符 28"/>
            <p:cNvCxnSpPr>
              <a:stCxn id="27" idx="4"/>
            </p:cNvCxnSpPr>
            <p:nvPr/>
          </p:nvCxnSpPr>
          <p:spPr>
            <a:xfrm>
              <a:off x="4008851" y="4382530"/>
              <a:ext cx="0" cy="196518"/>
            </a:xfrm>
            <a:prstGeom prst="straightConnector1">
              <a:avLst/>
            </a:prstGeom>
            <a:ln w="190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箭头连接符 29"/>
            <p:cNvCxnSpPr>
              <a:stCxn id="27" idx="0"/>
            </p:cNvCxnSpPr>
            <p:nvPr/>
          </p:nvCxnSpPr>
          <p:spPr>
            <a:xfrm flipV="1">
              <a:off x="4008851" y="4129221"/>
              <a:ext cx="0" cy="17093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箭头连接符 30"/>
            <p:cNvCxnSpPr/>
            <p:nvPr/>
          </p:nvCxnSpPr>
          <p:spPr>
            <a:xfrm flipH="1">
              <a:off x="4731544" y="4445585"/>
              <a:ext cx="22638" cy="212140"/>
            </a:xfrm>
            <a:prstGeom prst="straightConnector1">
              <a:avLst/>
            </a:prstGeom>
            <a:ln w="190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/>
            <p:nvPr/>
          </p:nvCxnSpPr>
          <p:spPr>
            <a:xfrm>
              <a:off x="3194464" y="4570770"/>
              <a:ext cx="124166" cy="222686"/>
            </a:xfrm>
            <a:prstGeom prst="straightConnector1">
              <a:avLst/>
            </a:prstGeom>
            <a:ln w="190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>
            <a:xfrm flipV="1">
              <a:off x="3544507" y="4067175"/>
              <a:ext cx="72612" cy="15260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箭头连接符 36"/>
            <p:cNvCxnSpPr/>
            <p:nvPr/>
          </p:nvCxnSpPr>
          <p:spPr>
            <a:xfrm flipH="1" flipV="1">
              <a:off x="4403124" y="4090988"/>
              <a:ext cx="144253" cy="14524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659531" y="5174815"/>
                <a:ext cx="271414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ℒ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)=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)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9531" y="5174815"/>
                <a:ext cx="2714140" cy="369332"/>
              </a:xfrm>
              <a:prstGeom prst="rect">
                <a:avLst/>
              </a:prstGeom>
              <a:blipFill>
                <a:blip r:embed="rId5"/>
                <a:stretch>
                  <a:fillRect t="-121667" r="-18161" b="-18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531990" y="5822318"/>
                <a:ext cx="3563540" cy="629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ℒ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1990" y="5822318"/>
                <a:ext cx="3563540" cy="62991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1" name="组合 40">
            <a:extLst>
              <a:ext uri="{FF2B5EF4-FFF2-40B4-BE49-F238E27FC236}">
                <a16:creationId xmlns:a16="http://schemas.microsoft.com/office/drawing/2014/main" id="{D6637EBD-C416-214D-9A0A-E7AFE5D2D010}"/>
              </a:ext>
            </a:extLst>
          </p:cNvPr>
          <p:cNvGrpSpPr/>
          <p:nvPr/>
        </p:nvGrpSpPr>
        <p:grpSpPr>
          <a:xfrm>
            <a:off x="5646838" y="1441206"/>
            <a:ext cx="2993527" cy="600597"/>
            <a:chOff x="502443" y="3689177"/>
            <a:chExt cx="8137922" cy="571453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34EED960-27F1-EC44-9DF3-53008EF0E6E1}"/>
                </a:ext>
              </a:extLst>
            </p:cNvPr>
            <p:cNvSpPr/>
            <p:nvPr/>
          </p:nvSpPr>
          <p:spPr>
            <a:xfrm>
              <a:off x="1038905" y="3805626"/>
              <a:ext cx="760146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dirty="0">
                  <a:solidFill>
                    <a:schemeClr val="accent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如：两者梯度的方向相同</a:t>
              </a:r>
            </a:p>
          </p:txBody>
        </p:sp>
        <p:sp>
          <p:nvSpPr>
            <p:cNvPr id="44" name="圆角矩形 43">
              <a:extLst>
                <a:ext uri="{FF2B5EF4-FFF2-40B4-BE49-F238E27FC236}">
                  <a16:creationId xmlns:a16="http://schemas.microsoft.com/office/drawing/2014/main" id="{FF7C576E-45DB-F048-9565-3E09467E330C}"/>
                </a:ext>
              </a:extLst>
            </p:cNvPr>
            <p:cNvSpPr/>
            <p:nvPr/>
          </p:nvSpPr>
          <p:spPr>
            <a:xfrm>
              <a:off x="502443" y="3689177"/>
              <a:ext cx="8137922" cy="571453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1359447" y="1830029"/>
                <a:ext cx="39772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9447" y="1830029"/>
                <a:ext cx="397723" cy="369332"/>
              </a:xfrm>
              <a:prstGeom prst="rect">
                <a:avLst/>
              </a:prstGeom>
              <a:blipFill>
                <a:blip r:embed="rId7"/>
                <a:stretch>
                  <a:fillRect r="-46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本框 44"/>
              <p:cNvSpPr txBox="1"/>
              <p:nvPr/>
            </p:nvSpPr>
            <p:spPr>
              <a:xfrm>
                <a:off x="6203961" y="5049323"/>
                <a:ext cx="39772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5" name="文本框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3961" y="5049323"/>
                <a:ext cx="397723" cy="369332"/>
              </a:xfrm>
              <a:prstGeom prst="rect">
                <a:avLst/>
              </a:prstGeom>
              <a:blipFill>
                <a:blip r:embed="rId8"/>
                <a:stretch>
                  <a:fillRect r="-15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文本框 45"/>
              <p:cNvSpPr txBox="1"/>
              <p:nvPr/>
            </p:nvSpPr>
            <p:spPr>
              <a:xfrm>
                <a:off x="6676128" y="3121630"/>
                <a:ext cx="148635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h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6" name="文本框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6128" y="3121630"/>
                <a:ext cx="1486358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本框 46"/>
              <p:cNvSpPr txBox="1"/>
              <p:nvPr/>
            </p:nvSpPr>
            <p:spPr>
              <a:xfrm>
                <a:off x="3403688" y="2359192"/>
                <a:ext cx="148635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7" name="文本框 4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3688" y="2359192"/>
                <a:ext cx="1486358" cy="369332"/>
              </a:xfrm>
              <a:prstGeom prst="rect">
                <a:avLst/>
              </a:prstGeom>
              <a:blipFill>
                <a:blip r:embed="rId10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文本框 47"/>
              <p:cNvSpPr txBox="1"/>
              <p:nvPr/>
            </p:nvSpPr>
            <p:spPr>
              <a:xfrm>
                <a:off x="2937349" y="2673718"/>
                <a:ext cx="148635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8" name="文本框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7349" y="2673718"/>
                <a:ext cx="1486358" cy="369332"/>
              </a:xfrm>
              <a:prstGeom prst="rect">
                <a:avLst/>
              </a:prstGeom>
              <a:blipFill>
                <a:blip r:embed="rId11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文本框 48"/>
              <p:cNvSpPr txBox="1"/>
              <p:nvPr/>
            </p:nvSpPr>
            <p:spPr>
              <a:xfrm>
                <a:off x="3967570" y="2052320"/>
                <a:ext cx="148635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49" name="文本框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7570" y="2052320"/>
                <a:ext cx="1486358" cy="369332"/>
              </a:xfrm>
              <a:prstGeom prst="rect">
                <a:avLst/>
              </a:prstGeom>
              <a:blipFill>
                <a:blip r:embed="rId12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896458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1544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等式凸优化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凸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2881463" y="2413324"/>
            <a:ext cx="3576486" cy="1350029"/>
            <a:chOff x="2880342" y="2458167"/>
            <a:chExt cx="3576486" cy="13500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文本框 2"/>
                <p:cNvSpPr txBox="1"/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oMath>
                    </m:oMathPara>
                  </a14:m>
                  <a:endParaRPr lang="en-US" altLang="zh-CN" b="0" dirty="0"/>
                </a:p>
                <a:p>
                  <a:endParaRPr lang="zh-CN" altLang="en-US" dirty="0"/>
                </a:p>
              </p:txBody>
            </p:sp>
          </mc:Choice>
          <mc:Fallback xmlns="">
            <p:sp>
              <p:nvSpPr>
                <p:cNvPr id="3" name="文本框 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文本框 4"/>
                <p:cNvSpPr txBox="1"/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≤ 0,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oMath>
                    </m:oMathPara>
                  </a14:m>
                  <a:endParaRPr lang="en-US" altLang="zh-CN" b="0" i="1" dirty="0">
                    <a:latin typeface="Cambria Math" panose="02040503050406030204" pitchFamily="18" charset="0"/>
                  </a:endParaRPr>
                </a:p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   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= 0,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5" name="文本框 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631376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问题的拉格朗日函数定义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6" name="文本占位符 3">
            <a:extLst>
              <a:ext uri="{FF2B5EF4-FFF2-40B4-BE49-F238E27FC236}">
                <a16:creationId xmlns:a16="http://schemas.microsoft.com/office/drawing/2014/main" id="{B6F3BB87-5DED-0D46-A3DE-44F3E77EE66A}"/>
              </a:ext>
            </a:extLst>
          </p:cNvPr>
          <p:cNvSpPr txBox="1">
            <a:spLocks/>
          </p:cNvSpPr>
          <p:nvPr/>
        </p:nvSpPr>
        <p:spPr>
          <a:xfrm>
            <a:off x="5439350" y="5558420"/>
            <a:ext cx="1934308" cy="43590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拉格朗日乘子</a:t>
            </a:r>
            <a:endParaRPr lang="en-US" altLang="zh-CN" sz="1800" b="0" dirty="0">
              <a:solidFill>
                <a:schemeClr val="accent1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cxnSp>
        <p:nvCxnSpPr>
          <p:cNvPr id="41" name="直接箭头连接符 40"/>
          <p:cNvCxnSpPr>
            <a:stCxn id="36" idx="0"/>
          </p:cNvCxnSpPr>
          <p:nvPr/>
        </p:nvCxnSpPr>
        <p:spPr>
          <a:xfrm flipH="1" flipV="1">
            <a:off x="6402493" y="5088892"/>
            <a:ext cx="4011" cy="469528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肘形连接符 42"/>
          <p:cNvCxnSpPr>
            <a:stCxn id="36" idx="1"/>
          </p:cNvCxnSpPr>
          <p:nvPr/>
        </p:nvCxnSpPr>
        <p:spPr>
          <a:xfrm rot="10800000">
            <a:off x="4910498" y="5088892"/>
            <a:ext cx="528853" cy="687480"/>
          </a:xfrm>
          <a:prstGeom prst="bentConnector2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3" name="矩形 52"/>
              <p:cNvSpPr/>
              <p:nvPr/>
            </p:nvSpPr>
            <p:spPr>
              <a:xfrm>
                <a:off x="2130591" y="4317151"/>
                <a:ext cx="5240215" cy="8769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3" name="矩形 5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0591" y="4317151"/>
                <a:ext cx="5240215" cy="87690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92112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原始问题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凸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697505"/>
                <a:ext cx="7660046" cy="216049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不满足约束条件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𝑤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例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者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h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</m:d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≠0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得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zh-CN" altLang="en-US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𝒫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</m:d>
                    <m:r>
                      <a:rPr lang="zh-CN" altLang="en-US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0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altLang="zh-CN" b="0" i="1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∞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97505"/>
                <a:ext cx="7660046" cy="216049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组合 13"/>
          <p:cNvGrpSpPr/>
          <p:nvPr/>
        </p:nvGrpSpPr>
        <p:grpSpPr>
          <a:xfrm>
            <a:off x="502442" y="2427172"/>
            <a:ext cx="3609828" cy="1073030"/>
            <a:chOff x="2880342" y="2458167"/>
            <a:chExt cx="3609828" cy="107303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文本框 14"/>
                <p:cNvSpPr txBox="1"/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oMath>
                    </m:oMathPara>
                  </a14:m>
                  <a:endParaRPr lang="en-US" altLang="zh-CN" b="0" dirty="0"/>
                </a:p>
                <a:p>
                  <a:endParaRPr lang="zh-CN" altLang="en-US" dirty="0"/>
                </a:p>
              </p:txBody>
            </p:sp>
          </mc:Choice>
          <mc:Fallback xmlns="">
            <p:sp>
              <p:nvSpPr>
                <p:cNvPr id="15" name="文本框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文本框 15"/>
                <p:cNvSpPr txBox="1"/>
                <p:nvPr/>
              </p:nvSpPr>
              <p:spPr>
                <a:xfrm>
                  <a:off x="3089239" y="2884866"/>
                  <a:ext cx="3400931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≤ 0,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oMath>
                    </m:oMathPara>
                  </a14:m>
                  <a:endParaRPr lang="en-US" altLang="zh-CN" b="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   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= 0,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6" name="文本框 1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89239" y="2884866"/>
                  <a:ext cx="3400931" cy="646331"/>
                </a:xfrm>
                <a:prstGeom prst="rect">
                  <a:avLst/>
                </a:prstGeom>
                <a:blipFill>
                  <a:blip r:embed="rId6"/>
                  <a:stretch>
                    <a:fillRect b="-94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" name="组合 7"/>
          <p:cNvGrpSpPr/>
          <p:nvPr/>
        </p:nvGrpSpPr>
        <p:grpSpPr>
          <a:xfrm>
            <a:off x="4269860" y="1724048"/>
            <a:ext cx="4983791" cy="1555519"/>
            <a:chOff x="4269860" y="1724048"/>
            <a:chExt cx="4983791" cy="1555519"/>
          </a:xfrm>
        </p:grpSpPr>
        <p:sp>
          <p:nvSpPr>
            <p:cNvPr id="32" name="内容占位符 2">
              <a:extLst>
                <a:ext uri="{FF2B5EF4-FFF2-40B4-BE49-F238E27FC236}">
                  <a16:creationId xmlns:a16="http://schemas.microsoft.com/office/drawing/2014/main" id="{B0DAA41D-EAD2-4F89-9615-BF03E9AF336C}"/>
                </a:ext>
              </a:extLst>
            </p:cNvPr>
            <p:cNvSpPr txBox="1">
              <a:spLocks/>
            </p:cNvSpPr>
            <p:nvPr/>
          </p:nvSpPr>
          <p:spPr>
            <a:xfrm>
              <a:off x="4269860" y="1724048"/>
              <a:ext cx="4983791" cy="71663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1"/>
                </a:buClr>
                <a:buSzPct val="88000"/>
                <a:buFont typeface="Wingdings" pitchFamily="2" charset="2"/>
                <a:buChar char="p"/>
                <a:defRPr sz="20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ea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拉格朗日函数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矩形 5"/>
                <p:cNvSpPr/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smtClean="0">
                            <a:latin typeface="Cambria Math" panose="02040503050406030204" pitchFamily="18" charset="0"/>
                          </a:rPr>
                          <m:t>ℒ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𝛽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=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6" name="矩形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475330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原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909191" y="4206537"/>
                <a:ext cx="2846548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𝒫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9191" y="4206537"/>
                <a:ext cx="2846548" cy="490968"/>
              </a:xfrm>
              <a:prstGeom prst="rect">
                <a:avLst/>
              </a:prstGeom>
              <a:blipFill>
                <a:blip r:embed="rId8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694174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原始问题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679919"/>
                <a:ext cx="7660046" cy="133401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相反，对于满足所有约束条件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𝑤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20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可得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zh-CN" altLang="en-US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𝒫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</m:d>
                    <m:r>
                      <a:rPr lang="zh-CN" altLang="en-US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b="0" i="1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𝑤</m:t>
                    </m:r>
                    <m:r>
                      <a:rPr lang="en-US" altLang="zh-CN" b="0" i="1" smtClean="0">
                        <a:solidFill>
                          <a:schemeClr val="accent4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solidFill>
                    <a:schemeClr val="accent4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79919"/>
                <a:ext cx="7660046" cy="133401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组合 4"/>
          <p:cNvGrpSpPr/>
          <p:nvPr/>
        </p:nvGrpSpPr>
        <p:grpSpPr>
          <a:xfrm>
            <a:off x="502442" y="1730008"/>
            <a:ext cx="7660046" cy="1770194"/>
            <a:chOff x="502442" y="1730008"/>
            <a:chExt cx="7660046" cy="1770194"/>
          </a:xfrm>
        </p:grpSpPr>
        <p:sp>
          <p:nvSpPr>
            <p:cNvPr id="13" name="内容占位符 2">
              <a:extLst>
                <a:ext uri="{FF2B5EF4-FFF2-40B4-BE49-F238E27FC236}">
                  <a16:creationId xmlns:a16="http://schemas.microsoft.com/office/drawing/2014/main" id="{B0DAA41D-EAD2-4F89-9615-BF03E9AF336C}"/>
                </a:ext>
              </a:extLst>
            </p:cNvPr>
            <p:cNvSpPr txBox="1">
              <a:spLocks/>
            </p:cNvSpPr>
            <p:nvPr/>
          </p:nvSpPr>
          <p:spPr>
            <a:xfrm>
              <a:off x="502442" y="1730008"/>
              <a:ext cx="7660046" cy="71663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1"/>
                </a:buClr>
                <a:buSzPct val="88000"/>
                <a:buFont typeface="Wingdings" pitchFamily="2" charset="2"/>
                <a:buChar char="p"/>
                <a:defRPr sz="20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ea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凸优化问题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grpSp>
          <p:nvGrpSpPr>
            <p:cNvPr id="14" name="组合 13"/>
            <p:cNvGrpSpPr/>
            <p:nvPr/>
          </p:nvGrpSpPr>
          <p:grpSpPr>
            <a:xfrm>
              <a:off x="502442" y="2427172"/>
              <a:ext cx="3609828" cy="1073030"/>
              <a:chOff x="2880342" y="2458167"/>
              <a:chExt cx="3609828" cy="1073030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文本框 14"/>
                  <p:cNvSpPr txBox="1"/>
                  <p:nvPr/>
                </p:nvSpPr>
                <p:spPr>
                  <a:xfrm>
                    <a:off x="2880342" y="2458167"/>
                    <a:ext cx="1636717" cy="72981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lim>
                          </m:limLow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 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oMath>
                      </m:oMathPara>
                    </a14:m>
                    <a:endParaRPr lang="en-US" altLang="zh-CN" b="0" dirty="0"/>
                  </a:p>
                  <a:p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5" name="文本框 1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880342" y="2458167"/>
                    <a:ext cx="1636717" cy="729815"/>
                  </a:xfrm>
                  <a:prstGeom prst="rect">
                    <a:avLst/>
                  </a:prstGeom>
                  <a:blipFill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文本框 15"/>
                  <p:cNvSpPr txBox="1"/>
                  <p:nvPr/>
                </p:nvSpPr>
                <p:spPr>
                  <a:xfrm>
                    <a:off x="3089239" y="2884866"/>
                    <a:ext cx="3400931" cy="64633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.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.   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≤ 0, 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=1,…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oMath>
                      </m:oMathPara>
                    </a14:m>
                    <a:endParaRPr lang="en-US" altLang="zh-CN" b="0" i="1" dirty="0">
                      <a:latin typeface="Cambria Math" panose="02040503050406030204" pitchFamily="18" charset="0"/>
                    </a:endParaRPr>
                  </a:p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        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= 0, 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1,…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6" name="文本框 1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089239" y="2884866"/>
                    <a:ext cx="3400931" cy="646331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b="-943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475330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原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909191" y="4206537"/>
                <a:ext cx="2846548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𝒫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9191" y="4206537"/>
                <a:ext cx="2846548" cy="490968"/>
              </a:xfrm>
              <a:prstGeom prst="rect">
                <a:avLst/>
              </a:prstGeom>
              <a:blipFill>
                <a:blip r:embed="rId7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957249" y="5800448"/>
                <a:ext cx="3608282" cy="7101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𝒫</m:t>
                          </m:r>
                        </m:sub>
                      </m:sSub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zh-CN" alt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r>
                                      <a:rPr lang="zh-CN" altLang="en-US" i="0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zh-CN" altLang="en-US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</m:d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阿里巴巴普惠体 R" panose="00020600040101010101" pitchFamily="18" charset="-122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 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0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+∞</m:t>
                                </m:r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阿里巴巴普惠体 R" panose="00020600040101010101" pitchFamily="18" charset="-122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 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7249" y="5800448"/>
                <a:ext cx="3608282" cy="71019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组合 20"/>
          <p:cNvGrpSpPr/>
          <p:nvPr/>
        </p:nvGrpSpPr>
        <p:grpSpPr>
          <a:xfrm>
            <a:off x="4269860" y="1724048"/>
            <a:ext cx="4983791" cy="1555519"/>
            <a:chOff x="4269860" y="1724048"/>
            <a:chExt cx="4983791" cy="1555519"/>
          </a:xfrm>
        </p:grpSpPr>
        <p:sp>
          <p:nvSpPr>
            <p:cNvPr id="22" name="内容占位符 2">
              <a:extLst>
                <a:ext uri="{FF2B5EF4-FFF2-40B4-BE49-F238E27FC236}">
                  <a16:creationId xmlns:a16="http://schemas.microsoft.com/office/drawing/2014/main" id="{B0DAA41D-EAD2-4F89-9615-BF03E9AF336C}"/>
                </a:ext>
              </a:extLst>
            </p:cNvPr>
            <p:cNvSpPr txBox="1">
              <a:spLocks/>
            </p:cNvSpPr>
            <p:nvPr/>
          </p:nvSpPr>
          <p:spPr>
            <a:xfrm>
              <a:off x="4269860" y="1724048"/>
              <a:ext cx="4983791" cy="71663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1"/>
                </a:buClr>
                <a:buSzPct val="88000"/>
                <a:buFont typeface="Wingdings" pitchFamily="2" charset="2"/>
                <a:buChar char="p"/>
                <a:defRPr sz="20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ea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拉格朗日函数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矩形 22"/>
                <p:cNvSpPr/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smtClean="0">
                            <a:latin typeface="Cambria Math" panose="02040503050406030204" pitchFamily="18" charset="0"/>
                          </a:rPr>
                          <m:t>ℒ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𝛽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=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23" name="矩形 2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" name="文本框 5"/>
          <p:cNvSpPr txBox="1"/>
          <p:nvPr/>
        </p:nvSpPr>
        <p:spPr>
          <a:xfrm>
            <a:off x="4728908" y="5857966"/>
            <a:ext cx="2686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满足原始问题约束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5238860" y="6148170"/>
            <a:ext cx="9157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其他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>
                <a:off x="4608521" y="5883613"/>
                <a:ext cx="240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8521" y="5883613"/>
                <a:ext cx="240772" cy="276999"/>
              </a:xfrm>
              <a:prstGeom prst="rect">
                <a:avLst/>
              </a:prstGeom>
              <a:blipFill>
                <a:blip r:embed="rId10"/>
                <a:stretch>
                  <a:fillRect l="-12821" r="-102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348864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原问题</a:t>
            </a:r>
          </a:p>
        </p:txBody>
      </p:sp>
      <p:sp>
        <p:nvSpPr>
          <p:cNvPr id="3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619660"/>
            <a:ext cx="7660046" cy="841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同于原来的优化任务</a:t>
            </a:r>
          </a:p>
        </p:txBody>
      </p: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2393883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最小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898204" y="3128692"/>
                <a:ext cx="3704989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𝒫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func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8204" y="3128692"/>
                <a:ext cx="3704989" cy="490968"/>
              </a:xfrm>
              <a:prstGeom prst="rect">
                <a:avLst/>
              </a:prstGeom>
              <a:blipFill>
                <a:blip r:embed="rId2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536512" y="1706918"/>
                <a:ext cx="3578410" cy="7101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𝒫</m:t>
                          </m:r>
                        </m:sub>
                      </m:sSub>
                      <m:r>
                        <a:rPr lang="zh-CN" altLang="en-US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zh-CN" altLang="en-US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zh-CN" altLang="en-US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r>
                                      <a:rPr lang="zh-CN" altLang="en-US" i="0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zh-CN" altLang="en-US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𝑤</m:t>
                                    </m:r>
                                  </m:e>
                                </m:d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∞</m:t>
                                </m:r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6512" y="1706918"/>
                <a:ext cx="3578410" cy="71019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组合 16"/>
          <p:cNvGrpSpPr/>
          <p:nvPr/>
        </p:nvGrpSpPr>
        <p:grpSpPr>
          <a:xfrm>
            <a:off x="2945784" y="4167957"/>
            <a:ext cx="3576486" cy="1350029"/>
            <a:chOff x="2880342" y="2458167"/>
            <a:chExt cx="3576486" cy="13500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文本框 17"/>
                <p:cNvSpPr txBox="1"/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oMath>
                    </m:oMathPara>
                  </a14:m>
                  <a:endParaRPr lang="en-US" altLang="zh-CN" b="0" dirty="0"/>
                </a:p>
                <a:p>
                  <a:endParaRPr lang="zh-CN" altLang="en-US" dirty="0"/>
                </a:p>
              </p:txBody>
            </p:sp>
          </mc:Choice>
          <mc:Fallback xmlns="">
            <p:sp>
              <p:nvSpPr>
                <p:cNvPr id="18" name="文本框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文本框 19"/>
                <p:cNvSpPr txBox="1"/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≤ 0,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oMath>
                    </m:oMathPara>
                  </a14:m>
                  <a:endParaRPr lang="en-US" altLang="zh-CN" b="0" i="1" dirty="0">
                    <a:latin typeface="Cambria Math" panose="02040503050406030204" pitchFamily="18" charset="0"/>
                  </a:endParaRPr>
                </a:p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   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= 0,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0" name="文本框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blipFill>
                  <a:blip r:embed="rId7"/>
                  <a:stretch>
                    <a:fillRect b="-1351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4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400450"/>
            <a:ext cx="6774139" cy="716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定义原始问题的解为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3419779" y="5977604"/>
                <a:ext cx="1825371" cy="4528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  <m:r>
                        <a:rPr lang="en-US" altLang="zh-CN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𝒫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9779" y="5977604"/>
                <a:ext cx="1825371" cy="45281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/>
          <p:cNvSpPr txBox="1"/>
          <p:nvPr/>
        </p:nvSpPr>
        <p:spPr>
          <a:xfrm>
            <a:off x="4582501" y="1745595"/>
            <a:ext cx="2686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满足原始问题约束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5114922" y="2062351"/>
            <a:ext cx="9157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其他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/>
              <p:cNvSpPr txBox="1"/>
              <p:nvPr/>
            </p:nvSpPr>
            <p:spPr>
              <a:xfrm>
                <a:off x="4462114" y="1771242"/>
                <a:ext cx="240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</m:oMath>
                  </m:oMathPara>
                </a14:m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文本框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2114" y="1771242"/>
                <a:ext cx="240772" cy="276999"/>
              </a:xfrm>
              <a:prstGeom prst="rect">
                <a:avLst/>
              </a:prstGeom>
              <a:blipFill>
                <a:blip r:embed="rId9"/>
                <a:stretch>
                  <a:fillRect l="-12821" r="-10256" b="-222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53412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偶问题</a:t>
            </a:r>
          </a:p>
        </p:txBody>
      </p: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08866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略不相同的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618448" y="3470066"/>
                <a:ext cx="4264501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≥0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𝒟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func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</m:t>
                          </m:r>
                          <m:r>
                            <m:rPr>
                              <m:sty m:val="p"/>
                            </m:rPr>
                            <a:rPr lang="zh-CN" altLang="en-US" smtClean="0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limLow>
                        <m:limLow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8448" y="3470066"/>
                <a:ext cx="4264501" cy="490968"/>
              </a:xfrm>
              <a:prstGeom prst="rect">
                <a:avLst/>
              </a:prstGeom>
              <a:blipFill>
                <a:blip r:embed="rId4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4999832"/>
            <a:ext cx="6774139" cy="716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定义对偶问题的解为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3305413" y="5593374"/>
                <a:ext cx="2886816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  <m:r>
                        <a:rPr lang="en-US" altLang="zh-CN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limLow>
                        <m:limLow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limLow>
                        <m:limLow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5413" y="5593374"/>
                <a:ext cx="2886816" cy="490968"/>
              </a:xfrm>
              <a:prstGeom prst="rect">
                <a:avLst/>
              </a:prstGeom>
              <a:blipFill>
                <a:blip r:embed="rId5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355316" y="2395242"/>
                <a:ext cx="2790764" cy="4528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𝒟</m:t>
                          </m:r>
                        </m:sub>
                      </m:sSub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5316" y="2395242"/>
                <a:ext cx="2790764" cy="45281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2696107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定义对偶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3907844"/>
                <a:ext cx="7630444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交换了原始问题中的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𝑖𝑛</m:t>
                    </m:r>
                    <m:r>
                      <a:rPr lang="zh-CN" altLang="en-US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和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𝑎𝑥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3907844"/>
                <a:ext cx="7630444" cy="716630"/>
              </a:xfrm>
              <a:prstGeom prst="rect">
                <a:avLst/>
              </a:prstGeom>
              <a:blipFill>
                <a:blip r:embed="rId7"/>
                <a:stretch>
                  <a:fillRect l="-479" b="-16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矩形 20"/>
              <p:cNvSpPr/>
              <p:nvPr/>
            </p:nvSpPr>
            <p:spPr>
              <a:xfrm>
                <a:off x="2898203" y="4657524"/>
                <a:ext cx="3704989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𝒫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func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1" name="矩形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8203" y="4657524"/>
                <a:ext cx="3704989" cy="490968"/>
              </a:xfrm>
              <a:prstGeom prst="rect">
                <a:avLst/>
              </a:prstGeom>
              <a:blipFill>
                <a:blip r:embed="rId8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97241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76867" y="6259383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问题对比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309220" y="2422265"/>
                <a:ext cx="6882949" cy="4909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  <m:r>
                        <a:rPr lang="en-US" altLang="zh-CN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limLow>
                        <m:limLow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limLow>
                        <m:limLow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limLow>
                        <m:limLow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limLow>
                        <m:limLow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r>
                        <a:rPr lang="en-US" altLang="zh-CN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9220" y="2422265"/>
                <a:ext cx="6882949" cy="490968"/>
              </a:xfrm>
              <a:prstGeom prst="rect">
                <a:avLst/>
              </a:prstGeom>
              <a:blipFill>
                <a:blip r:embed="rId4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17234"/>
                <a:ext cx="4983791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zh-CN" altLang="en-US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与</m:t>
                    </m:r>
                    <m:sSup>
                      <m:sSupPr>
                        <m:ctrl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大小关系</a:t>
                </a: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17234"/>
                <a:ext cx="4983791" cy="716630"/>
              </a:xfrm>
              <a:prstGeom prst="rect">
                <a:avLst/>
              </a:prstGeom>
              <a:blipFill>
                <a:blip r:embed="rId5"/>
                <a:stretch>
                  <a:fillRect l="-733" b="-2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2880088"/>
            <a:ext cx="7630444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证明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2108607" y="3651548"/>
            <a:ext cx="6349593" cy="1556891"/>
            <a:chOff x="2108607" y="3442941"/>
            <a:chExt cx="5284177" cy="155689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/>
                <p:cNvSpPr/>
                <p:nvPr/>
              </p:nvSpPr>
              <p:spPr>
                <a:xfrm>
                  <a:off x="2622476" y="3442941"/>
                  <a:ext cx="3924611" cy="46205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∀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≥0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𝛽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7" name="矩形 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22476" y="3442941"/>
                  <a:ext cx="3924611" cy="462050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矩形 12"/>
                <p:cNvSpPr/>
                <p:nvPr/>
              </p:nvSpPr>
              <p:spPr>
                <a:xfrm>
                  <a:off x="2108607" y="3956826"/>
                  <a:ext cx="5284177" cy="49096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⇒</m:t>
                        </m:r>
                        <m:limLow>
                          <m:limLowPr>
                            <m:ctrlPr>
                              <a:rPr lang="zh-CN" alt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≥0</m:t>
                            </m:r>
                          </m:lim>
                        </m:limLow>
                        <m:limLow>
                          <m:limLowPr>
                            <m:ctrlPr>
                              <a:rPr lang="en-US" altLang="zh-CN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limLow>
                          <m:limLowPr>
                            <m:ctrlPr>
                              <a:rPr lang="zh-CN" alt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≥0</m:t>
                            </m:r>
                          </m:lim>
                        </m:limLow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∀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3" name="矩形 1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08607" y="3956826"/>
                  <a:ext cx="5284177" cy="490968"/>
                </a:xfrm>
                <a:prstGeom prst="rect">
                  <a:avLst/>
                </a:prstGeom>
                <a:blipFill>
                  <a:blip r:embed="rId7"/>
                  <a:stretch>
                    <a:fillRect b="-617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矩形 13"/>
                <p:cNvSpPr/>
                <p:nvPr/>
              </p:nvSpPr>
              <p:spPr>
                <a:xfrm>
                  <a:off x="2108608" y="4508864"/>
                  <a:ext cx="4918325" cy="49096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⇒</m:t>
                        </m:r>
                        <m:limLow>
                          <m:limLowPr>
                            <m:ctrlPr>
                              <a:rPr lang="zh-CN" alt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≥0</m:t>
                            </m:r>
                          </m:lim>
                        </m:limLow>
                        <m:limLow>
                          <m:limLowPr>
                            <m:ctrlPr>
                              <a:rPr lang="en-US" altLang="zh-CN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limLow>
                          <m:limLowPr>
                            <m:ctrlPr>
                              <a:rPr lang="en-US" altLang="zh-CN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limLow>
                          <m:limLowPr>
                            <m:ctrlPr>
                              <a:rPr lang="zh-CN" alt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solidFill>
                                      <a:schemeClr val="accent4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zh-CN" altLang="en-US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≥0</m:t>
                            </m:r>
                          </m:lim>
                        </m:limLow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ℒ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</m:d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4" name="矩形 1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08608" y="4508864"/>
                  <a:ext cx="4918325" cy="490968"/>
                </a:xfrm>
                <a:prstGeom prst="rect">
                  <a:avLst/>
                </a:prstGeom>
                <a:blipFill>
                  <a:blip r:embed="rId8"/>
                  <a:stretch>
                    <a:fillRect b="-7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" name="组合 7"/>
          <p:cNvGrpSpPr/>
          <p:nvPr/>
        </p:nvGrpSpPr>
        <p:grpSpPr>
          <a:xfrm>
            <a:off x="502441" y="5330111"/>
            <a:ext cx="6774139" cy="716630"/>
            <a:chOff x="502441" y="4999832"/>
            <a:chExt cx="6774139" cy="716630"/>
          </a:xfrm>
        </p:grpSpPr>
        <p:sp>
          <p:nvSpPr>
            <p:cNvPr id="24" name="内容占位符 2">
              <a:extLst>
                <a:ext uri="{FF2B5EF4-FFF2-40B4-BE49-F238E27FC236}">
                  <a16:creationId xmlns:a16="http://schemas.microsoft.com/office/drawing/2014/main" id="{B0DAA41D-EAD2-4F89-9615-BF03E9AF336C}"/>
                </a:ext>
              </a:extLst>
            </p:cNvPr>
            <p:cNvSpPr txBox="1">
              <a:spLocks/>
            </p:cNvSpPr>
            <p:nvPr/>
          </p:nvSpPr>
          <p:spPr>
            <a:xfrm>
              <a:off x="502441" y="4999832"/>
              <a:ext cx="6774139" cy="71663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1"/>
                </a:buClr>
                <a:buSzPct val="88000"/>
                <a:buFont typeface="Wingdings" pitchFamily="2" charset="2"/>
                <a:buChar char="p"/>
                <a:defRPr sz="20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ea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lvl="1" indent="-285750">
                <a:lnSpc>
                  <a:spcPct val="200000"/>
                </a:lnSpc>
                <a:spcBef>
                  <a:spcPts val="1000"/>
                </a:spcBef>
                <a:buSzPct val="88000"/>
                <a:buFont typeface="Wingdings" pitchFamily="2" charset="2"/>
                <a:buChar char="p"/>
              </a:pPr>
              <a:r>
                <a: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满足一定条件，可得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矩形 2"/>
                <p:cNvSpPr/>
                <p:nvPr/>
              </p:nvSpPr>
              <p:spPr>
                <a:xfrm>
                  <a:off x="3814448" y="5217706"/>
                  <a:ext cx="1006429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𝑑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∗</m:t>
                            </m:r>
                          </m:sup>
                        </m:s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</m:t>
                        </m:r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∗</m:t>
                            </m:r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3" name="矩形 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14448" y="5217706"/>
                  <a:ext cx="1006429" cy="369332"/>
                </a:xfrm>
                <a:prstGeom prst="rect">
                  <a:avLst/>
                </a:prstGeom>
                <a:blipFill>
                  <a:blip r:embed="rId9"/>
                  <a:stretch>
                    <a:fillRect b="-819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" name="文本框 4"/>
          <p:cNvSpPr txBox="1"/>
          <p:nvPr/>
        </p:nvSpPr>
        <p:spPr>
          <a:xfrm>
            <a:off x="7403123" y="5264746"/>
            <a:ext cx="439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045284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K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条件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17234"/>
                <a:ext cx="8137924" cy="43846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以及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  <m:sup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</m:sup>
                    </m:sSubSup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凸函数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并且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h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为</m:t>
                    </m:r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仿射函数，且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严格满足可行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必然存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𝛽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满足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原始</m:t>
                    </m:r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的解</a:t>
                </a: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𝛽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对偶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的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两个问题的解数值相等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sSup>
                      <m:sSupPr>
                        <m:ctrlPr>
                          <a:rPr lang="en-US" altLang="zh-CN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zh-CN" altLang="en-US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 </m:t>
                            </m:r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𝑤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∗</m:t>
                            </m:r>
                          </m:sup>
                        </m:s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𝛼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∗</m:t>
                            </m:r>
                          </m:sup>
                        </m:s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𝛽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同时</a:t>
                </a:r>
                <a14:m>
                  <m:oMath xmlns:m="http://schemas.openxmlformats.org/officeDocument/2006/math"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(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𝛽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K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条件</a:t>
                </a: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17234"/>
                <a:ext cx="8137924" cy="438462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49356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3017130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线性分类器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982840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3795831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支持向量机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3761541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K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条件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17234"/>
                <a:ext cx="4189879" cy="4981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(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𝛽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K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条件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</m:num>
                      <m:den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zh-CN" altLang="en-US"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</m:num>
                      <m:den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zh-CN" altLang="en-US"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≤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≥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17234"/>
                <a:ext cx="4189879" cy="4981630"/>
              </a:xfrm>
              <a:prstGeom prst="rect">
                <a:avLst/>
              </a:prstGeom>
              <a:blipFill>
                <a:blip r:embed="rId4"/>
                <a:stretch>
                  <a:fillRect l="-87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60435" y="2267266"/>
                <a:ext cx="4079930" cy="30553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存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(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𝛽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K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条件，则这组参数同时也是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原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以及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对偶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的解</a:t>
                </a:r>
              </a:p>
              <a:p>
                <a:pPr lvl="1">
                  <a:lnSpc>
                    <a:spcPct val="200000"/>
                  </a:lnSpc>
                </a:pP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60435" y="2267266"/>
                <a:ext cx="4079930" cy="3055300"/>
              </a:xfrm>
              <a:prstGeom prst="rect">
                <a:avLst/>
              </a:prstGeom>
              <a:blipFill>
                <a:blip r:embed="rId5"/>
                <a:stretch>
                  <a:fillRect r="-1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肘形连接符 24"/>
          <p:cNvCxnSpPr>
            <a:stCxn id="26" idx="0"/>
          </p:cNvCxnSpPr>
          <p:nvPr/>
        </p:nvCxnSpPr>
        <p:spPr>
          <a:xfrm rot="16200000" flipV="1">
            <a:off x="3779376" y="4136744"/>
            <a:ext cx="1209970" cy="908402"/>
          </a:xfrm>
          <a:prstGeom prst="bentConnector3">
            <a:avLst>
              <a:gd name="adj1" fmla="val 100140"/>
            </a:avLst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占位符 3">
            <a:extLst>
              <a:ext uri="{FF2B5EF4-FFF2-40B4-BE49-F238E27FC236}">
                <a16:creationId xmlns:a16="http://schemas.microsoft.com/office/drawing/2014/main" id="{B6F3BB87-5DED-0D46-A3DE-44F3E77EE66A}"/>
              </a:ext>
            </a:extLst>
          </p:cNvPr>
          <p:cNvSpPr txBox="1">
            <a:spLocks/>
          </p:cNvSpPr>
          <p:nvPr/>
        </p:nvSpPr>
        <p:spPr>
          <a:xfrm>
            <a:off x="3776997" y="5195930"/>
            <a:ext cx="2123129" cy="43590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KT</a:t>
            </a:r>
            <a:r>
              <a:rPr lang="zh-CN" altLang="en-US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偶互补条件</a:t>
            </a:r>
            <a:endParaRPr lang="en-US" altLang="zh-CN" sz="1800" b="0" dirty="0">
              <a:solidFill>
                <a:schemeClr val="accent1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3" name="页脚占位符 2">
            <a:extLst>
              <a:ext uri="{FF2B5EF4-FFF2-40B4-BE49-F238E27FC236}">
                <a16:creationId xmlns:a16="http://schemas.microsoft.com/office/drawing/2014/main" id="{212C3C6E-070A-4204-881E-86E1C6A64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045208"/>
            <a:ext cx="6371732" cy="596891"/>
          </a:xfrm>
        </p:spPr>
        <p:txBody>
          <a:bodyPr/>
          <a:lstStyle/>
          <a:p>
            <a:r>
              <a:rPr lang="en-US" altLang="zh-CN" dirty="0"/>
              <a:t>Boyd, Stephen, and </a:t>
            </a:r>
            <a:r>
              <a:rPr lang="en-US" altLang="zh-CN" dirty="0" err="1"/>
              <a:t>Lieven</a:t>
            </a:r>
            <a:r>
              <a:rPr lang="en-US" altLang="zh-CN" dirty="0"/>
              <a:t> </a:t>
            </a:r>
            <a:r>
              <a:rPr lang="en-US" altLang="zh-CN" dirty="0" err="1"/>
              <a:t>Vandenberghe</a:t>
            </a:r>
            <a:r>
              <a:rPr lang="en-US" altLang="zh-CN" dirty="0"/>
              <a:t>. Convex optimization. Cambridge university press, 2004.</a:t>
            </a:r>
          </a:p>
          <a:p>
            <a:r>
              <a:rPr lang="zh-CN" altLang="en-US" dirty="0"/>
              <a:t>知乎</a:t>
            </a:r>
            <a:r>
              <a:rPr lang="en-US" altLang="zh-CN" dirty="0"/>
              <a:t>KKT</a:t>
            </a:r>
            <a:r>
              <a:rPr lang="zh-CN" altLang="en-US" dirty="0"/>
              <a:t>解释：</a:t>
            </a:r>
            <a:r>
              <a:rPr lang="en-US" altLang="zh-CN" dirty="0">
                <a:hlinkClick r:id="rId6"/>
              </a:rPr>
              <a:t>https://zhuanlan.zhihu.com/p/26514613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530529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Autofit/>
          </a:bodyPr>
          <a:lstStyle/>
          <a:p>
            <a:r>
              <a:rPr kumimoji="1" lang="zh-CN" altLang="en-US" dirty="0"/>
              <a:t>支持向量机</a:t>
            </a:r>
            <a:br>
              <a:rPr kumimoji="1" lang="en-US" altLang="zh-CN" dirty="0"/>
            </a:br>
            <a:r>
              <a:rPr lang="zh-CN" altLang="en-US" dirty="0"/>
              <a:t>优化求解</a:t>
            </a:r>
            <a:endParaRPr kumimoji="1" lang="zh-CN" altLang="en-US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1920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REVIEW</a:t>
            </a:r>
            <a:r>
              <a:rPr kumimoji="1" lang="zh-CN" altLang="en-US" dirty="0"/>
              <a:t>：支持向量机优化目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2143865" y="1077937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寻找一个使最小几何间隔达到最大值的分割超平面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447756" y="2032419"/>
                <a:ext cx="1040348" cy="4859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𝛾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  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fun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756" y="2032419"/>
                <a:ext cx="1040348" cy="485967"/>
              </a:xfrm>
              <a:prstGeom prst="rect">
                <a:avLst/>
              </a:prstGeom>
              <a:blipFill>
                <a:blip r:embed="rId2"/>
                <a:stretch>
                  <a:fillRect b="-2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447756" y="2551088"/>
                <a:ext cx="3013774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756" y="2551088"/>
                <a:ext cx="3013774" cy="410177"/>
              </a:xfrm>
              <a:prstGeom prst="rect">
                <a:avLst/>
              </a:prstGeom>
              <a:blipFill>
                <a:blip r:embed="rId3"/>
                <a:stretch>
                  <a:fillRect b="-29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/>
              <p:cNvSpPr txBox="1"/>
              <p:nvPr/>
            </p:nvSpPr>
            <p:spPr>
              <a:xfrm>
                <a:off x="1011636" y="3055196"/>
                <a:ext cx="31459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d>
                      <m:dPr>
                        <m:begChr m:val="‖"/>
                        <m:endChr m:val="‖"/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𝜔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凸约束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文本框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636" y="3055196"/>
                <a:ext cx="3145968" cy="369332"/>
              </a:xfrm>
              <a:prstGeom prst="rect">
                <a:avLst/>
              </a:prstGeom>
              <a:blipFill>
                <a:blip r:embed="rId4"/>
                <a:stretch>
                  <a:fillRect t="-6557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5214628" y="2002659"/>
                <a:ext cx="3738011" cy="5934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limLow>
                      <m:limLowPr>
                        <m:ctrlPr>
                          <a:rPr lang="zh-CN" altLang="en-US" i="1" smtClean="0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zh-CN" altLang="en-US">
                            <a:latin typeface="Cambria Math" panose="02040503050406030204" pitchFamily="18" charset="0"/>
                          </a:rPr>
                          <m:t>max</m:t>
                        </m:r>
                      </m:e>
                      <m:lim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  <m:sub>
                            <m:acc>
                              <m:accPr>
                                <m:chr m:val="̂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</m:acc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lim>
                    </m:limLow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  </m:t>
                    </m:r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acc>
                          <m:accPr>
                            <m:chr m:val="̂"/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𝛾</m:t>
                            </m:r>
                          </m:e>
                        </m:acc>
                      </m:num>
                      <m:den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‖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‖</m:t>
                        </m:r>
                      </m:den>
                    </m:f>
                  </m:oMath>
                </a14:m>
                <a:r>
                  <a:rPr lang="zh-CN" altLang="en-US" dirty="0"/>
                  <a:t>              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凸目标函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4628" y="2002659"/>
                <a:ext cx="3738011" cy="593432"/>
              </a:xfrm>
              <a:prstGeom prst="rect">
                <a:avLst/>
              </a:prstGeom>
              <a:blipFill>
                <a:blip r:embed="rId5"/>
                <a:stretch>
                  <a:fillRect t="-10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5214628" y="2734393"/>
                <a:ext cx="2863091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acc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4628" y="2734393"/>
                <a:ext cx="2863091" cy="410177"/>
              </a:xfrm>
              <a:prstGeom prst="rect">
                <a:avLst/>
              </a:prstGeom>
              <a:blipFill>
                <a:blip r:embed="rId6"/>
                <a:stretch>
                  <a:fillRect r="-8511" b="-29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5AEE6080-7B60-436D-AAAB-A5F1B2C1A93D}"/>
                  </a:ext>
                </a:extLst>
              </p:cNvPr>
              <p:cNvSpPr/>
              <p:nvPr/>
            </p:nvSpPr>
            <p:spPr>
              <a:xfrm>
                <a:off x="3278859" y="2577271"/>
                <a:ext cx="134209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5AEE6080-7B60-436D-AAAB-A5F1B2C1A93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78859" y="2577271"/>
                <a:ext cx="1342099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19616C19-A207-4AFA-BF76-DE4EB8BB25EF}"/>
                  </a:ext>
                </a:extLst>
              </p:cNvPr>
              <p:cNvSpPr/>
              <p:nvPr/>
            </p:nvSpPr>
            <p:spPr>
              <a:xfrm>
                <a:off x="6689122" y="3154393"/>
                <a:ext cx="134209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19616C19-A207-4AFA-BF76-DE4EB8BB25E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9122" y="3154393"/>
                <a:ext cx="1342099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矩形 7">
            <a:extLst>
              <a:ext uri="{FF2B5EF4-FFF2-40B4-BE49-F238E27FC236}">
                <a16:creationId xmlns:a16="http://schemas.microsoft.com/office/drawing/2014/main" id="{69DC2581-890A-4473-B681-2FBBA9AB0F53}"/>
              </a:ext>
            </a:extLst>
          </p:cNvPr>
          <p:cNvSpPr/>
          <p:nvPr/>
        </p:nvSpPr>
        <p:spPr>
          <a:xfrm>
            <a:off x="337279" y="1818567"/>
            <a:ext cx="4294682" cy="18690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45EA6BB-B548-4FB0-A5E3-85450EF80C67}"/>
              </a:ext>
            </a:extLst>
          </p:cNvPr>
          <p:cNvSpPr/>
          <p:nvPr/>
        </p:nvSpPr>
        <p:spPr>
          <a:xfrm>
            <a:off x="4936292" y="1818567"/>
            <a:ext cx="4016347" cy="18690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303A97C-7182-4CDC-8A2C-AB9B1F8B625B}"/>
                  </a:ext>
                </a:extLst>
              </p:cNvPr>
              <p:cNvSpPr txBox="1"/>
              <p:nvPr/>
            </p:nvSpPr>
            <p:spPr>
              <a:xfrm>
                <a:off x="4896024" y="4434782"/>
                <a:ext cx="31459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acc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303A97C-7182-4CDC-8A2C-AB9B1F8B62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6024" y="4434782"/>
                <a:ext cx="3145968" cy="369332"/>
              </a:xfrm>
              <a:prstGeom prst="rect">
                <a:avLst/>
              </a:prstGeom>
              <a:blipFill>
                <a:blip r:embed="rId9"/>
                <a:stretch>
                  <a:fillRect t="-6557" b="-32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BA0A4F06-7056-4724-8A14-A3161DE6B5CA}"/>
                  </a:ext>
                </a:extLst>
              </p:cNvPr>
              <p:cNvSpPr/>
              <p:nvPr/>
            </p:nvSpPr>
            <p:spPr>
              <a:xfrm>
                <a:off x="4896024" y="4859322"/>
                <a:ext cx="1278234" cy="6594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</m:sSub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BA0A4F06-7056-4724-8A14-A3161DE6B5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6024" y="4859322"/>
                <a:ext cx="1278234" cy="65941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6B52668A-89E3-49D1-B91B-55984F51A5D7}"/>
                  </a:ext>
                </a:extLst>
              </p:cNvPr>
              <p:cNvSpPr/>
              <p:nvPr/>
            </p:nvSpPr>
            <p:spPr>
              <a:xfrm>
                <a:off x="4896024" y="5530429"/>
                <a:ext cx="2863284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zh-CN" altLang="en-US" smtClean="0"/>
                      <m:t> </m:t>
                    </m:r>
                    <m:r>
                      <m:rPr>
                        <m:sty m:val="p"/>
                      </m:rPr>
                      <a:rPr lang="en-US" altLang="zh-CN" i="1" smtClean="0">
                        <a:latin typeface="Cambria Math" panose="02040503050406030204" pitchFamily="18" charset="0"/>
                      </a:rPr>
                      <m:t>s</m:t>
                    </m:r>
                    <m:r>
                      <m:rPr>
                        <m:nor/>
                      </m:rPr>
                      <a:rPr lang="zh-CN" altLang="en-US" i="1"/>
                      <m:t>.</m:t>
                    </m:r>
                    <m:r>
                      <m:rPr>
                        <m:sty m:val="p"/>
                      </m:rPr>
                      <a:rPr lang="en-US" altLang="zh-CN" i="1" smtClean="0">
                        <a:latin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zh-CN" altLang="en-US" i="1"/>
                      <m:t>. </m:t>
                    </m:r>
                    <m:r>
                      <m:rPr>
                        <m:nor/>
                      </m:rPr>
                      <a:rPr lang="en-US" altLang="zh-CN" b="0" i="1" smtClean="0"/>
                      <m:t>  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d>
                    <m:r>
                      <a:rPr lang="zh-CN" altLang="en-US" i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altLang="zh-CN" dirty="0"/>
                  <a:t>,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6B52668A-89E3-49D1-B91B-55984F51A5D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6024" y="5530429"/>
                <a:ext cx="2863284" cy="410177"/>
              </a:xfrm>
              <a:prstGeom prst="rect">
                <a:avLst/>
              </a:prstGeom>
              <a:blipFill>
                <a:blip r:embed="rId11"/>
                <a:stretch>
                  <a:fillRect t="-1471" r="-1064" b="-176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EF0561FA-CFA1-4D42-8AAC-9B01CF173D11}"/>
                  </a:ext>
                </a:extLst>
              </p:cNvPr>
              <p:cNvSpPr/>
              <p:nvPr/>
            </p:nvSpPr>
            <p:spPr>
              <a:xfrm>
                <a:off x="7599537" y="5550851"/>
                <a:ext cx="134209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EF0561FA-CFA1-4D42-8AAC-9B01CF173D1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9537" y="5550851"/>
                <a:ext cx="1342099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矩形 21">
            <a:extLst>
              <a:ext uri="{FF2B5EF4-FFF2-40B4-BE49-F238E27FC236}">
                <a16:creationId xmlns:a16="http://schemas.microsoft.com/office/drawing/2014/main" id="{02E12593-07FC-4704-866C-2352C4416C57}"/>
              </a:ext>
            </a:extLst>
          </p:cNvPr>
          <p:cNvSpPr/>
          <p:nvPr/>
        </p:nvSpPr>
        <p:spPr>
          <a:xfrm>
            <a:off x="4657957" y="4207596"/>
            <a:ext cx="4294682" cy="18690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62576D4-EE23-48D4-9A9A-5D02D9CAC29F}"/>
                  </a:ext>
                </a:extLst>
              </p:cNvPr>
              <p:cNvSpPr/>
              <p:nvPr/>
            </p:nvSpPr>
            <p:spPr>
              <a:xfrm>
                <a:off x="620668" y="4393320"/>
                <a:ext cx="1469441" cy="6501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in</m:t>
                          </m:r>
                        </m:e>
                        <m:li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</m:sSub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e>
                        <m:sup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62576D4-EE23-48D4-9A9A-5D02D9CAC2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668" y="4393320"/>
                <a:ext cx="1469441" cy="65017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9C8687A9-659E-4E9C-85ED-6515ABD0F3C3}"/>
                  </a:ext>
                </a:extLst>
              </p:cNvPr>
              <p:cNvSpPr/>
              <p:nvPr/>
            </p:nvSpPr>
            <p:spPr>
              <a:xfrm>
                <a:off x="655836" y="5064780"/>
                <a:ext cx="2911374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9C8687A9-659E-4E9C-85ED-6515ABD0F3C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836" y="5064780"/>
                <a:ext cx="2911374" cy="410177"/>
              </a:xfrm>
              <a:prstGeom prst="rect">
                <a:avLst/>
              </a:prstGeom>
              <a:blipFill>
                <a:blip r:embed="rId14"/>
                <a:stretch>
                  <a:fillRect b="-29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2EE111C2-1798-4F5E-9906-B63A75321EF8}"/>
                  </a:ext>
                </a:extLst>
              </p:cNvPr>
              <p:cNvSpPr/>
              <p:nvPr/>
            </p:nvSpPr>
            <p:spPr>
              <a:xfrm>
                <a:off x="2345452" y="5550851"/>
                <a:ext cx="134209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2EE111C2-1798-4F5E-9906-B63A75321EF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5452" y="5550851"/>
                <a:ext cx="1342099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矩形 30">
            <a:extLst>
              <a:ext uri="{FF2B5EF4-FFF2-40B4-BE49-F238E27FC236}">
                <a16:creationId xmlns:a16="http://schemas.microsoft.com/office/drawing/2014/main" id="{2FD27B26-9FAE-42B5-A291-B059750EDC72}"/>
              </a:ext>
            </a:extLst>
          </p:cNvPr>
          <p:cNvSpPr/>
          <p:nvPr/>
        </p:nvSpPr>
        <p:spPr>
          <a:xfrm>
            <a:off x="337279" y="4207596"/>
            <a:ext cx="4016347" cy="18690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箭头: 右 8">
            <a:extLst>
              <a:ext uri="{FF2B5EF4-FFF2-40B4-BE49-F238E27FC236}">
                <a16:creationId xmlns:a16="http://schemas.microsoft.com/office/drawing/2014/main" id="{C0A1C9EB-0D53-44DB-8DD8-1CB5302D57B8}"/>
              </a:ext>
            </a:extLst>
          </p:cNvPr>
          <p:cNvSpPr/>
          <p:nvPr/>
        </p:nvSpPr>
        <p:spPr>
          <a:xfrm>
            <a:off x="4631961" y="2693745"/>
            <a:ext cx="304331" cy="16937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3CE3ACD7-4452-4470-8CD1-8933C4B94728}"/>
              </a:ext>
            </a:extLst>
          </p:cNvPr>
          <p:cNvSpPr/>
          <p:nvPr/>
        </p:nvSpPr>
        <p:spPr>
          <a:xfrm rot="5400000">
            <a:off x="6670232" y="3856644"/>
            <a:ext cx="507502" cy="16937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箭头: 右 32">
            <a:extLst>
              <a:ext uri="{FF2B5EF4-FFF2-40B4-BE49-F238E27FC236}">
                <a16:creationId xmlns:a16="http://schemas.microsoft.com/office/drawing/2014/main" id="{3D6C41FE-1834-40C6-BA7C-B5EB5146934A}"/>
              </a:ext>
            </a:extLst>
          </p:cNvPr>
          <p:cNvSpPr/>
          <p:nvPr/>
        </p:nvSpPr>
        <p:spPr>
          <a:xfrm rot="10800000">
            <a:off x="4352453" y="5100493"/>
            <a:ext cx="304331" cy="16937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30417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机的目标函数：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寻找最优间隔分类器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7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3535648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重写约束条件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413474" y="2375019"/>
            <a:ext cx="4674450" cy="1095615"/>
            <a:chOff x="2759480" y="4755588"/>
            <a:chExt cx="4674450" cy="1095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矩形 17"/>
                <p:cNvSpPr/>
                <p:nvPr/>
              </p:nvSpPr>
              <p:spPr>
                <a:xfrm>
                  <a:off x="2759480" y="4755588"/>
                  <a:ext cx="1469441" cy="65017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latin typeface="Cambria Math" panose="02040503050406030204" pitchFamily="18" charset="0"/>
                              </a:rPr>
                              <m:t>m</m:t>
                            </m:r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in</m:t>
                            </m:r>
                          </m:e>
                          <m:lim>
                            <m:sSub>
                              <m:sSub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  <m:sub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</m:sub>
                            </m:sSub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</m:d>
                          </m:e>
                          <m:sup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8" name="矩形 1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9480" y="4755588"/>
                  <a:ext cx="1469441" cy="650178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矩形 18"/>
                <p:cNvSpPr/>
                <p:nvPr/>
              </p:nvSpPr>
              <p:spPr>
                <a:xfrm>
                  <a:off x="2794648" y="5427048"/>
                  <a:ext cx="4639282" cy="42415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nor/>
                          </m:rPr>
                          <a:rPr lang="zh-CN" altLang="en-US" smtClean="0"/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i="1"/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i="1"/>
                          <m:t>. </m:t>
                        </m:r>
                        <m:r>
                          <m:rPr>
                            <m:nor/>
                          </m:rPr>
                          <a:rPr lang="en-US" altLang="zh-CN" b="0" i="1" smtClean="0"/>
                          <m:t>  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</m:d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9" name="矩形 1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94648" y="5427048"/>
                  <a:ext cx="4639282" cy="42415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872749" y="4191964"/>
                <a:ext cx="3755900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1≤0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2749" y="4191964"/>
                <a:ext cx="3755900" cy="410177"/>
              </a:xfrm>
              <a:prstGeom prst="rect">
                <a:avLst/>
              </a:prstGeom>
              <a:blipFill>
                <a:blip r:embed="rId7"/>
                <a:stretch>
                  <a:fillRect b="-89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4599666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应标准优化形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2945785" y="5167434"/>
            <a:ext cx="3576486" cy="1350029"/>
            <a:chOff x="2880342" y="2458167"/>
            <a:chExt cx="3576486" cy="13500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文本框 22"/>
                <p:cNvSpPr txBox="1"/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oMath>
                    </m:oMathPara>
                  </a14:m>
                  <a:endParaRPr lang="en-US" altLang="zh-CN" b="0" dirty="0"/>
                </a:p>
                <a:p>
                  <a:endParaRPr lang="zh-CN" altLang="en-US" dirty="0"/>
                </a:p>
              </p:txBody>
            </p:sp>
          </mc:Choice>
          <mc:Fallback xmlns="">
            <p:sp>
              <p:nvSpPr>
                <p:cNvPr id="23" name="文本框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文本框 23"/>
                <p:cNvSpPr txBox="1"/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≤ 0,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oMath>
                    </m:oMathPara>
                  </a14:m>
                  <a:endParaRPr lang="en-US" altLang="zh-CN" b="0" i="1" dirty="0">
                    <a:latin typeface="Cambria Math" panose="02040503050406030204" pitchFamily="18" charset="0"/>
                  </a:endParaRPr>
                </a:p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   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= 0,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24" name="文本框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89239" y="2884866"/>
                  <a:ext cx="3367589" cy="923330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441528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REVIEW: </a:t>
            </a:r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原始问题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凸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0418" y="4349148"/>
                <a:ext cx="8623700" cy="53534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不满足约束条件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𝑤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例如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者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h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</m:d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≠0</m:t>
                    </m:r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可得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zh-CN" altLang="en-US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𝒫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</m:d>
                    <m:r>
                      <a:rPr lang="zh-CN" altLang="en-US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altLang="zh-CN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∞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418" y="4349148"/>
                <a:ext cx="8623700" cy="535344"/>
              </a:xfrm>
              <a:prstGeom prst="rect">
                <a:avLst/>
              </a:prstGeom>
              <a:blipFill>
                <a:blip r:embed="rId2"/>
                <a:stretch>
                  <a:fillRect b="-56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组合 13"/>
          <p:cNvGrpSpPr/>
          <p:nvPr/>
        </p:nvGrpSpPr>
        <p:grpSpPr>
          <a:xfrm>
            <a:off x="502442" y="2427172"/>
            <a:ext cx="3609828" cy="1073030"/>
            <a:chOff x="2880342" y="2458167"/>
            <a:chExt cx="3609828" cy="107303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文本框 14"/>
                <p:cNvSpPr txBox="1"/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</m:oMath>
                    </m:oMathPara>
                  </a14:m>
                  <a:endParaRPr lang="en-US" altLang="zh-CN" b="0" dirty="0"/>
                </a:p>
                <a:p>
                  <a:endParaRPr lang="zh-CN" altLang="en-US" dirty="0"/>
                </a:p>
              </p:txBody>
            </p:sp>
          </mc:Choice>
          <mc:Fallback xmlns="">
            <p:sp>
              <p:nvSpPr>
                <p:cNvPr id="15" name="文本框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0342" y="2458167"/>
                  <a:ext cx="1636717" cy="729815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文本框 15"/>
                <p:cNvSpPr txBox="1"/>
                <p:nvPr/>
              </p:nvSpPr>
              <p:spPr>
                <a:xfrm>
                  <a:off x="3089239" y="2884866"/>
                  <a:ext cx="3400931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.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≤ 0,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oMath>
                    </m:oMathPara>
                  </a14:m>
                  <a:endParaRPr lang="en-US" altLang="zh-CN" b="0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       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= 0,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6" name="文本框 1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89239" y="2884866"/>
                  <a:ext cx="3400931" cy="646331"/>
                </a:xfrm>
                <a:prstGeom prst="rect">
                  <a:avLst/>
                </a:prstGeom>
                <a:blipFill>
                  <a:blip r:embed="rId6"/>
                  <a:stretch>
                    <a:fillRect b="-94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8" name="组合 7"/>
          <p:cNvGrpSpPr/>
          <p:nvPr/>
        </p:nvGrpSpPr>
        <p:grpSpPr>
          <a:xfrm>
            <a:off x="4269860" y="1724048"/>
            <a:ext cx="4983791" cy="1555519"/>
            <a:chOff x="4269860" y="1724048"/>
            <a:chExt cx="4983791" cy="1555519"/>
          </a:xfrm>
        </p:grpSpPr>
        <p:sp>
          <p:nvSpPr>
            <p:cNvPr id="32" name="内容占位符 2">
              <a:extLst>
                <a:ext uri="{FF2B5EF4-FFF2-40B4-BE49-F238E27FC236}">
                  <a16:creationId xmlns:a16="http://schemas.microsoft.com/office/drawing/2014/main" id="{B0DAA41D-EAD2-4F89-9615-BF03E9AF336C}"/>
                </a:ext>
              </a:extLst>
            </p:cNvPr>
            <p:cNvSpPr txBox="1">
              <a:spLocks/>
            </p:cNvSpPr>
            <p:nvPr/>
          </p:nvSpPr>
          <p:spPr>
            <a:xfrm>
              <a:off x="4269860" y="1724048"/>
              <a:ext cx="4983791" cy="71663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85750" indent="-28575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1"/>
                </a:buClr>
                <a:buSzPct val="88000"/>
                <a:buFont typeface="Wingdings" pitchFamily="2" charset="2"/>
                <a:buChar char="p"/>
                <a:defRPr sz="20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ea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拉格朗日函数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矩形 5"/>
                <p:cNvSpPr/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smtClean="0">
                            <a:latin typeface="Cambria Math" panose="02040503050406030204" pitchFamily="18" charset="0"/>
                          </a:rPr>
                          <m:t>ℒ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𝛽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=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)+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6" name="矩形 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1167" y="2489927"/>
                  <a:ext cx="4932484" cy="789640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475330"/>
            <a:ext cx="4983791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原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909191" y="3879656"/>
                <a:ext cx="2846548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𝒫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9191" y="3879656"/>
                <a:ext cx="2846548" cy="490968"/>
              </a:xfrm>
              <a:prstGeom prst="rect">
                <a:avLst/>
              </a:prstGeom>
              <a:blipFill>
                <a:blip r:embed="rId8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内容占位符 2">
            <a:extLst>
              <a:ext uri="{FF2B5EF4-FFF2-40B4-BE49-F238E27FC236}">
                <a16:creationId xmlns:a16="http://schemas.microsoft.com/office/drawing/2014/main" id="{36B87503-4F18-43D8-B887-138DDB9A9B63}"/>
              </a:ext>
            </a:extLst>
          </p:cNvPr>
          <p:cNvSpPr txBox="1">
            <a:spLocks/>
          </p:cNvSpPr>
          <p:nvPr/>
        </p:nvSpPr>
        <p:spPr>
          <a:xfrm>
            <a:off x="502442" y="4823762"/>
            <a:ext cx="6774139" cy="716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定义原始问题的解为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CEF3C358-7B43-4E35-A80F-64BC4295D1BD}"/>
                  </a:ext>
                </a:extLst>
              </p:cNvPr>
              <p:cNvSpPr/>
              <p:nvPr/>
            </p:nvSpPr>
            <p:spPr>
              <a:xfrm>
                <a:off x="3199584" y="5049469"/>
                <a:ext cx="4115550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unc>
                      <m:funcPr>
                        <m:ctrlP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in</m:t>
                            </m:r>
                          </m:e>
                          <m:lim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𝑤</m:t>
                            </m:r>
                          </m:lim>
                        </m:limLow>
                      </m:fName>
                      <m:e>
                        <m:sSub>
                          <m:sSubPr>
                            <m:ctrlPr>
                              <a:rPr lang="zh-CN" altLang="en-US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  <m:sub>
                            <m:r>
                              <a:rPr lang="zh-CN" altLang="en-US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𝒫</m:t>
                            </m:r>
                          </m:sub>
                        </m:sSub>
                        <m:d>
                          <m:dPr>
                            <m:ctrlP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</m:d>
                        <m:r>
                          <a:rPr lang="en-US" altLang="zh-CN" b="0" i="0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</m:e>
                    </m:func>
                  </m:oMath>
                </a14:m>
                <a:r>
                  <a:rPr lang="en-US" altLang="zh-CN" dirty="0">
                    <a:solidFill>
                      <a:schemeClr val="accent2"/>
                    </a:solidFill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min</m:t>
                        </m:r>
                      </m:e>
                      <m:lim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lim>
                    </m:limLow>
                    <m:limLow>
                      <m:limLowPr>
                        <m:ctrlPr>
                          <a:rPr lang="zh-CN" altLang="en-US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zh-CN" altLang="en-US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max</m:t>
                        </m:r>
                      </m:e>
                      <m:lim>
                        <m:r>
                          <a:rPr lang="zh-CN" altLang="en-US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zh-CN" altLang="en-US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  <m:r>
                          <a:rPr lang="zh-CN" altLang="en-US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:</m:t>
                        </m:r>
                        <m:sSub>
                          <m:sSubPr>
                            <m:ctrlP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≥0</m:t>
                        </m:r>
                      </m:lim>
                    </m:limLow>
                    <m:r>
                      <a:rPr lang="zh-CN" altLang="en-US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ℒ</m:t>
                    </m:r>
                    <m:r>
                      <a:rPr lang="zh-CN" altLang="en-US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𝑤</m:t>
                    </m:r>
                    <m:r>
                      <a:rPr lang="zh-CN" altLang="en-US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𝛼</m:t>
                    </m:r>
                    <m:r>
                      <a:rPr lang="zh-CN" altLang="en-US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i="1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𝛽</m:t>
                    </m:r>
                    <m:r>
                      <a:rPr lang="en-US" altLang="zh-CN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CEF3C358-7B43-4E35-A80F-64BC4295D1B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99584" y="5049469"/>
                <a:ext cx="4115550" cy="490968"/>
              </a:xfrm>
              <a:prstGeom prst="rect">
                <a:avLst/>
              </a:prstGeom>
              <a:blipFill>
                <a:blip r:embed="rId9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472D6E19-0DF8-4FD0-B1E6-F26243A4A340}"/>
              </a:ext>
            </a:extLst>
          </p:cNvPr>
          <p:cNvCxnSpPr>
            <a:cxnSpLocks/>
          </p:cNvCxnSpPr>
          <p:nvPr/>
        </p:nvCxnSpPr>
        <p:spPr>
          <a:xfrm flipH="1">
            <a:off x="7240251" y="5259885"/>
            <a:ext cx="29973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2D1D6B4F-EA99-4F86-859A-2970D39D49D2}"/>
              </a:ext>
            </a:extLst>
          </p:cNvPr>
          <p:cNvSpPr txBox="1"/>
          <p:nvPr/>
        </p:nvSpPr>
        <p:spPr>
          <a:xfrm>
            <a:off x="7549327" y="5078430"/>
            <a:ext cx="1322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不好直接解</a:t>
            </a:r>
          </a:p>
        </p:txBody>
      </p:sp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89A06082-F70E-4B9E-85B4-04254BA61B67}"/>
              </a:ext>
            </a:extLst>
          </p:cNvPr>
          <p:cNvSpPr txBox="1">
            <a:spLocks/>
          </p:cNvSpPr>
          <p:nvPr/>
        </p:nvSpPr>
        <p:spPr>
          <a:xfrm>
            <a:off x="502441" y="5656691"/>
            <a:ext cx="6774139" cy="716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定义对偶问题的解为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E7DDE9C7-A315-44B6-8BA2-ED8B0007A917}"/>
                  </a:ext>
                </a:extLst>
              </p:cNvPr>
              <p:cNvSpPr/>
              <p:nvPr/>
            </p:nvSpPr>
            <p:spPr>
              <a:xfrm>
                <a:off x="3155511" y="5882974"/>
                <a:ext cx="2886816" cy="4909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  <m:r>
                        <a:rPr lang="en-US" altLang="zh-CN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limLow>
                        <m:limLowPr>
                          <m:ctrlPr>
                            <a:rPr lang="zh-CN" altLang="en-US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limLow>
                        <m:limLow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E7DDE9C7-A315-44B6-8BA2-ED8B0007A91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511" y="5882974"/>
                <a:ext cx="2886816" cy="490968"/>
              </a:xfrm>
              <a:prstGeom prst="rect">
                <a:avLst/>
              </a:prstGeom>
              <a:blipFill>
                <a:blip r:embed="rId10"/>
                <a:stretch>
                  <a:fillRect b="-61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F0BD1DCE-9890-457E-8274-F9D58C011710}"/>
              </a:ext>
            </a:extLst>
          </p:cNvPr>
          <p:cNvCxnSpPr>
            <a:cxnSpLocks/>
          </p:cNvCxnSpPr>
          <p:nvPr/>
        </p:nvCxnSpPr>
        <p:spPr>
          <a:xfrm flipH="1">
            <a:off x="6003563" y="6097240"/>
            <a:ext cx="29973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A076C6EE-58BC-4B67-ABCA-DB4778A3714A}"/>
              </a:ext>
            </a:extLst>
          </p:cNvPr>
          <p:cNvSpPr txBox="1"/>
          <p:nvPr/>
        </p:nvSpPr>
        <p:spPr>
          <a:xfrm>
            <a:off x="6312639" y="5915785"/>
            <a:ext cx="1322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容易直接解</a:t>
            </a:r>
          </a:p>
        </p:txBody>
      </p:sp>
    </p:spTree>
    <p:extLst>
      <p:ext uri="{BB962C8B-B14F-4D97-AF65-F5344CB8AC3E}">
        <p14:creationId xmlns:p14="http://schemas.microsoft.com/office/powerpoint/2010/main" val="31574340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REVIEW: </a:t>
            </a:r>
            <a:r>
              <a:rPr lang="zh-CN" altLang="en-US" dirty="0"/>
              <a:t>拉格朗日对偶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309220" y="1704169"/>
                <a:ext cx="6882949" cy="4909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  <m:r>
                        <a:rPr lang="en-US" altLang="zh-CN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limLow>
                        <m:limLowPr>
                          <m:ctrlPr>
                            <a:rPr lang="zh-CN" altLang="en-US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limLow>
                        <m:limLow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r>
                        <a:rPr lang="en-US" altLang="zh-CN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limLow>
                        <m:limLowPr>
                          <m:ctrlP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lim>
                      </m:limLow>
                      <m:limLow>
                        <m:limLowPr>
                          <m:ctrlPr>
                            <a:rPr lang="zh-CN" altLang="en-US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:</m:t>
                          </m:r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zh-CN" altLang="en-US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</m:d>
                      <m:r>
                        <a:rPr lang="en-US" altLang="zh-CN" b="0" i="0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p>
                          <m: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9220" y="1704169"/>
                <a:ext cx="6882949" cy="490968"/>
              </a:xfrm>
              <a:prstGeom prst="rect">
                <a:avLst/>
              </a:prstGeom>
              <a:blipFill>
                <a:blip r:embed="rId2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999138"/>
                <a:ext cx="4983791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zh-CN" altLang="en-US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与</m:t>
                    </m:r>
                    <m:sSup>
                      <m:sSupPr>
                        <m:ctrl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p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大小关系</a:t>
                </a: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999138"/>
                <a:ext cx="4983791" cy="716630"/>
              </a:xfrm>
              <a:prstGeom prst="rect">
                <a:avLst/>
              </a:prstGeom>
              <a:blipFill>
                <a:blip r:embed="rId3"/>
                <a:stretch>
                  <a:fillRect l="-733" b="-2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2224879"/>
                <a:ext cx="7338198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足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KKT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条件，</a:t>
                </a:r>
                <a:r>
                  <a:rPr lang="en-US" altLang="zh-CN" sz="2000" dirty="0">
                    <a:solidFill>
                      <a:schemeClr val="accent2"/>
                    </a:solidFill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e>
                      <m:sup>
                        <m: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  <m:r>
                      <a:rPr lang="en-US" altLang="zh-CN" sz="2000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p>
                        <m:r>
                          <a:rPr lang="en-US" altLang="zh-CN" sz="2000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成立，这时解对偶问题就是解原问题</a:t>
                </a:r>
              </a:p>
            </p:txBody>
          </p:sp>
        </mc:Choice>
        <mc:Fallback xmlns="">
          <p:sp>
            <p:nvSpPr>
              <p:cNvPr id="24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2224879"/>
                <a:ext cx="7338198" cy="716630"/>
              </a:xfrm>
              <a:prstGeom prst="rect">
                <a:avLst/>
              </a:prstGeom>
              <a:blipFill>
                <a:blip r:embed="rId4"/>
                <a:stretch>
                  <a:fillRect l="-49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占位符 3">
            <a:extLst>
              <a:ext uri="{FF2B5EF4-FFF2-40B4-BE49-F238E27FC236}">
                <a16:creationId xmlns:a16="http://schemas.microsoft.com/office/drawing/2014/main" id="{E386E523-68C6-4EE8-B2B0-C3BB102EFB71}"/>
              </a:ext>
            </a:extLst>
          </p:cNvPr>
          <p:cNvSpPr txBox="1">
            <a:spLocks/>
          </p:cNvSpPr>
          <p:nvPr/>
        </p:nvSpPr>
        <p:spPr>
          <a:xfrm>
            <a:off x="681738" y="2979082"/>
            <a:ext cx="14318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KT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条件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A037246-D4F4-4DC1-B937-A3B9FEC91DF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47273" y="2999713"/>
                <a:ext cx="4189879" cy="299932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</m:num>
                      <m:den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zh-CN" altLang="en-US"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f>
                      <m:f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</m:num>
                      <m:den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zh-CN" altLang="en-US">
                        <a:latin typeface="Cambria Math" panose="02040503050406030204" pitchFamily="18" charset="0"/>
                      </a:rPr>
                      <m:t>ℒ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≤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≥0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A037246-D4F4-4DC1-B937-A3B9FEC91D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7273" y="2999713"/>
                <a:ext cx="4189879" cy="299932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文本占位符 3">
            <a:extLst>
              <a:ext uri="{FF2B5EF4-FFF2-40B4-BE49-F238E27FC236}">
                <a16:creationId xmlns:a16="http://schemas.microsoft.com/office/drawing/2014/main" id="{1363CEBF-E572-424A-9913-B8E6801D2271}"/>
              </a:ext>
            </a:extLst>
          </p:cNvPr>
          <p:cNvSpPr txBox="1">
            <a:spLocks/>
          </p:cNvSpPr>
          <p:nvPr/>
        </p:nvSpPr>
        <p:spPr>
          <a:xfrm>
            <a:off x="6105007" y="4525938"/>
            <a:ext cx="2123129" cy="43590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KT</a:t>
            </a:r>
            <a:r>
              <a:rPr lang="zh-CN" altLang="en-US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偶互补条件</a:t>
            </a:r>
            <a:endParaRPr lang="en-US" altLang="zh-CN" sz="1800" b="0" dirty="0">
              <a:solidFill>
                <a:schemeClr val="accent1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1" name="页脚占位符 2">
            <a:extLst>
              <a:ext uri="{FF2B5EF4-FFF2-40B4-BE49-F238E27FC236}">
                <a16:creationId xmlns:a16="http://schemas.microsoft.com/office/drawing/2014/main" id="{4E25B6DB-24FE-43F6-B24F-934D2DDB5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045208"/>
            <a:ext cx="6371732" cy="596891"/>
          </a:xfrm>
        </p:spPr>
        <p:txBody>
          <a:bodyPr/>
          <a:lstStyle/>
          <a:p>
            <a:r>
              <a:rPr lang="en-US" altLang="zh-CN" dirty="0"/>
              <a:t>Boyd, Stephen, and </a:t>
            </a:r>
            <a:r>
              <a:rPr lang="en-US" altLang="zh-CN" dirty="0" err="1"/>
              <a:t>Lieven</a:t>
            </a:r>
            <a:r>
              <a:rPr lang="en-US" altLang="zh-CN" dirty="0"/>
              <a:t> </a:t>
            </a:r>
            <a:r>
              <a:rPr lang="en-US" altLang="zh-CN" dirty="0" err="1"/>
              <a:t>Vandenberghe</a:t>
            </a:r>
            <a:r>
              <a:rPr lang="en-US" altLang="zh-CN" dirty="0"/>
              <a:t>. Convex optimization. Cambridge university press, 2004.</a:t>
            </a:r>
          </a:p>
          <a:p>
            <a:r>
              <a:rPr lang="zh-CN" altLang="en-US" dirty="0"/>
              <a:t>知乎</a:t>
            </a:r>
            <a:r>
              <a:rPr lang="en-US" altLang="zh-CN" dirty="0"/>
              <a:t>KKT</a:t>
            </a:r>
            <a:r>
              <a:rPr lang="zh-CN" altLang="en-US" dirty="0"/>
              <a:t>解释：</a:t>
            </a:r>
            <a:r>
              <a:rPr lang="en-US" altLang="zh-CN" dirty="0">
                <a:hlinkClick r:id="rId6"/>
              </a:rPr>
              <a:t>https://zhuanlan.zhihu.com/p/26514613</a:t>
            </a:r>
            <a:endParaRPr lang="en-US" altLang="zh-CN" dirty="0"/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F7837B1F-5290-414A-85B1-A58DF9D04759}"/>
              </a:ext>
            </a:extLst>
          </p:cNvPr>
          <p:cNvCxnSpPr>
            <a:cxnSpLocks/>
            <a:stCxn id="20" idx="1"/>
          </p:cNvCxnSpPr>
          <p:nvPr/>
        </p:nvCxnSpPr>
        <p:spPr>
          <a:xfrm flipH="1">
            <a:off x="5508885" y="4743890"/>
            <a:ext cx="596122" cy="4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394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/>
          <p:cNvGrpSpPr>
            <a:grpSpLocks noChangeAspect="1"/>
          </p:cNvGrpSpPr>
          <p:nvPr/>
        </p:nvGrpSpPr>
        <p:grpSpPr>
          <a:xfrm>
            <a:off x="502440" y="2346008"/>
            <a:ext cx="4189760" cy="3431845"/>
            <a:chOff x="628649" y="1936579"/>
            <a:chExt cx="5789505" cy="4742200"/>
          </a:xfrm>
        </p:grpSpPr>
        <p:pic>
          <p:nvPicPr>
            <p:cNvPr id="25" name="图片 2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8649" y="1936579"/>
              <a:ext cx="5789505" cy="4742200"/>
            </a:xfrm>
            <a:prstGeom prst="rect">
              <a:avLst/>
            </a:prstGeom>
          </p:spPr>
        </p:pic>
        <p:cxnSp>
          <p:nvCxnSpPr>
            <p:cNvPr id="26" name="直接箭头连接符 25"/>
            <p:cNvCxnSpPr/>
            <p:nvPr/>
          </p:nvCxnSpPr>
          <p:spPr>
            <a:xfrm flipH="1">
              <a:off x="3238500" y="2495379"/>
              <a:ext cx="977900" cy="1091863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箭头连接符 26"/>
            <p:cNvCxnSpPr/>
            <p:nvPr/>
          </p:nvCxnSpPr>
          <p:spPr>
            <a:xfrm>
              <a:off x="4216400" y="2508079"/>
              <a:ext cx="330200" cy="1955463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箭头连接符 27"/>
            <p:cNvCxnSpPr/>
            <p:nvPr/>
          </p:nvCxnSpPr>
          <p:spPr>
            <a:xfrm flipH="1">
              <a:off x="3289300" y="2520779"/>
              <a:ext cx="927100" cy="2196763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等式情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不等式约束条件，考虑等号成立的情况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3874152" y="2508606"/>
            <a:ext cx="3788086" cy="2067886"/>
            <a:chOff x="2454514" y="2430391"/>
            <a:chExt cx="3788086" cy="206788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矩形 6"/>
                <p:cNvSpPr/>
                <p:nvPr/>
              </p:nvSpPr>
              <p:spPr>
                <a:xfrm>
                  <a:off x="2454514" y="2430391"/>
                  <a:ext cx="3755900" cy="4101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𝑤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)=−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</m:d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+1=0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7" name="矩形 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54514" y="2430391"/>
                  <a:ext cx="3755900" cy="410177"/>
                </a:xfrm>
                <a:prstGeom prst="rect">
                  <a:avLst/>
                </a:prstGeom>
                <a:blipFill>
                  <a:blip r:embed="rId15"/>
                  <a:stretch>
                    <a:fillRect b="-8955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矩形 8"/>
                <p:cNvSpPr/>
                <p:nvPr/>
              </p:nvSpPr>
              <p:spPr>
                <a:xfrm>
                  <a:off x="2710802" y="2957748"/>
                  <a:ext cx="3132396" cy="71423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⇒</m:t>
                        </m:r>
                        <m:sSup>
                          <m:sSupPr>
                            <m:ctrlP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num>
                          <m:den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</m:den>
                        </m:f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num>
                          <m:den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‖</m:t>
                            </m:r>
                          </m:den>
                        </m:f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‖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‖</m:t>
                            </m:r>
                          </m:den>
                        </m:f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9" name="矩形 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10802" y="2957748"/>
                  <a:ext cx="3132396" cy="714234"/>
                </a:xfrm>
                <a:prstGeom prst="rect">
                  <a:avLst/>
                </a:prstGeom>
                <a:blipFill>
                  <a:blip r:embed="rId1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1" name="文本占位符 3">
              <a:extLst>
                <a:ext uri="{FF2B5EF4-FFF2-40B4-BE49-F238E27FC236}">
                  <a16:creationId xmlns:a16="http://schemas.microsoft.com/office/drawing/2014/main" id="{B6F3BB87-5DED-0D46-A3DE-44F3E77EE66A}"/>
                </a:ext>
              </a:extLst>
            </p:cNvPr>
            <p:cNvSpPr txBox="1">
              <a:spLocks/>
            </p:cNvSpPr>
            <p:nvPr/>
          </p:nvSpPr>
          <p:spPr>
            <a:xfrm>
              <a:off x="4978179" y="4062374"/>
              <a:ext cx="1264421" cy="435903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txBody>
            <a:bodyPr vert="horz" lIns="91440" tIns="45720" rIns="91440" bIns="4572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800" b="0" dirty="0">
                  <a:solidFill>
                    <a:schemeClr val="accent1"/>
                  </a:solidFill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rPr>
                <a:t>几何间隔</a:t>
              </a:r>
              <a:endParaRPr lang="en-US" altLang="zh-CN" sz="1800" b="0" dirty="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endParaRPr>
            </a:p>
          </p:txBody>
        </p:sp>
      </p:grpSp>
      <p:cxnSp>
        <p:nvCxnSpPr>
          <p:cNvPr id="33" name="直接箭头连接符 32"/>
          <p:cNvCxnSpPr>
            <a:stCxn id="31" idx="0"/>
          </p:cNvCxnSpPr>
          <p:nvPr/>
        </p:nvCxnSpPr>
        <p:spPr>
          <a:xfrm flipH="1" flipV="1">
            <a:off x="7025054" y="3800982"/>
            <a:ext cx="4974" cy="339607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800" y="3352800"/>
            <a:ext cx="9144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圆角矩形 2"/>
              <p:cNvSpPr/>
              <p:nvPr/>
            </p:nvSpPr>
            <p:spPr>
              <a:xfrm>
                <a:off x="1045506" y="5940451"/>
                <a:ext cx="4651132" cy="509954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dirty="0">
                    <a:solidFill>
                      <a:sysClr val="windowText" lastClr="00000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  <m:sub>
                        <m:r>
                          <a:rPr lang="en-US" altLang="zh-CN" i="1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en-US" altLang="zh-CN" i="1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0</m:t>
                    </m:r>
                  </m:oMath>
                </a14:m>
                <a:r>
                  <a:rPr lang="zh-CN" altLang="en-US" dirty="0">
                    <a:solidFill>
                      <a:sysClr val="windowText" lastClr="00000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，训练样本的函数间隔恰好等于</a:t>
                </a:r>
                <a14:m>
                  <m:oMath xmlns:m="http://schemas.openxmlformats.org/officeDocument/2006/math">
                    <m:r>
                      <a:rPr lang="en-US" altLang="zh-CN" i="1" dirty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</m:t>
                    </m:r>
                  </m:oMath>
                </a14:m>
                <a:endParaRPr lang="en-US" altLang="zh-CN" dirty="0">
                  <a:solidFill>
                    <a:sysClr val="windowText" lastClr="00000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" name="圆角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5506" y="5940451"/>
                <a:ext cx="4651132" cy="509954"/>
              </a:xfrm>
              <a:prstGeom prst="roundRect">
                <a:avLst/>
              </a:prstGeom>
              <a:blipFill>
                <a:blip r:embed="rId21"/>
                <a:stretch>
                  <a:fillRect l="-523" b="-3448"/>
                </a:stretch>
              </a:blipFill>
              <a:ln w="19050">
                <a:solidFill>
                  <a:schemeClr val="accent1"/>
                </a:solidFill>
                <a:prstDash val="dash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文本框 20">
            <a:extLst>
              <a:ext uri="{FF2B5EF4-FFF2-40B4-BE49-F238E27FC236}">
                <a16:creationId xmlns:a16="http://schemas.microsoft.com/office/drawing/2014/main" id="{00E551A7-FA4A-4566-A2AF-EB5B1F7938F1}"/>
              </a:ext>
            </a:extLst>
          </p:cNvPr>
          <p:cNvSpPr txBox="1"/>
          <p:nvPr/>
        </p:nvSpPr>
        <p:spPr>
          <a:xfrm>
            <a:off x="2576474" y="2363539"/>
            <a:ext cx="11450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55636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机的目标函数：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寻找最优间隔分类器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160103" y="2445834"/>
            <a:ext cx="5146024" cy="1080638"/>
            <a:chOff x="2759480" y="4755588"/>
            <a:chExt cx="5146024" cy="108063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矩形 17"/>
                <p:cNvSpPr/>
                <p:nvPr/>
              </p:nvSpPr>
              <p:spPr>
                <a:xfrm>
                  <a:off x="2759480" y="4755588"/>
                  <a:ext cx="1469441" cy="65017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latin typeface="Cambria Math" panose="02040503050406030204" pitchFamily="18" charset="0"/>
                              </a:rPr>
                              <m:t>m</m:t>
                            </m:r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</a:rPr>
                              <m:t>in</m:t>
                            </m:r>
                          </m:e>
                          <m:lim>
                            <m:sSub>
                              <m:sSub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  <m:sub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</m:sub>
                            </m:sSub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</m:d>
                          </m:e>
                          <m:sup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8" name="矩形 1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9480" y="4755588"/>
                  <a:ext cx="1469441" cy="650178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矩形 18"/>
                <p:cNvSpPr/>
                <p:nvPr/>
              </p:nvSpPr>
              <p:spPr>
                <a:xfrm>
                  <a:off x="2759480" y="5426049"/>
                  <a:ext cx="5146024" cy="4101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i="1"/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i="1"/>
                          <m:t>. </m:t>
                        </m:r>
                        <m:r>
                          <m:rPr>
                            <m:nor/>
                          </m:rPr>
                          <a:rPr lang="en-US" altLang="zh-CN" b="0" i="1" smtClean="0"/>
                          <m:t> 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p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sup>
                            </m:sSup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</m:d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+1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≤0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0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9" name="矩形 1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59480" y="5426049"/>
                  <a:ext cx="5146024" cy="410177"/>
                </a:xfrm>
                <a:prstGeom prst="rect">
                  <a:avLst/>
                </a:prstGeom>
                <a:blipFill>
                  <a:blip r:embed="rId5"/>
                  <a:stretch>
                    <a:fillRect b="-4478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5401098"/>
                <a:ext cx="7660046" cy="740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支持向量机中不存在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者等式约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5401098"/>
                <a:ext cx="7660046" cy="74063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875614" y="4460279"/>
                <a:ext cx="5750170" cy="8485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‖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5614" y="4460279"/>
                <a:ext cx="5750170" cy="84856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3802895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拉格朗日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800" y="3352800"/>
            <a:ext cx="9144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89447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220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问题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拉格朗日函数的极值点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2724533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关于两个参数的偏导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875613" y="2142294"/>
                <a:ext cx="5750170" cy="7645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‖</m:t>
                          </m:r>
                        </m:e>
                        <m:sup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d>
                        <m:dPr>
                          <m:begChr m:val="["/>
                          <m:endChr m:val="]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p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5613" y="2142294"/>
                <a:ext cx="5750170" cy="764505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1471168" y="3179922"/>
                <a:ext cx="6559062" cy="7645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0⇒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71168" y="3179922"/>
                <a:ext cx="6559062" cy="764505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3158147" y="3847562"/>
                <a:ext cx="2853282" cy="764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𝜕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8147" y="3847562"/>
                <a:ext cx="2853282" cy="764505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390489"/>
            <a:ext cx="7660046" cy="7406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重写拉格朗日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455656" y="4854342"/>
                <a:ext cx="8590085" cy="840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smtClean="0"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𝑤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US" altLang="zh-CN" sz="1600" i="1">
                          <a:latin typeface="Cambria Math" panose="02040503050406030204" pitchFamily="18" charset="0"/>
                        </a:rPr>
                        <m:t>[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sup>
                      </m:sSup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⋅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−1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656" y="4854342"/>
                <a:ext cx="8590085" cy="840999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824932" y="5652611"/>
                <a:ext cx="7622931" cy="7923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sup>
                      </m:sSup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zh-CN" alt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932" y="5652611"/>
                <a:ext cx="7622931" cy="792396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矩形 21">
            <a:extLst>
              <a:ext uri="{FF2B5EF4-FFF2-40B4-BE49-F238E27FC236}">
                <a16:creationId xmlns:a16="http://schemas.microsoft.com/office/drawing/2014/main" id="{BB1949E9-3545-2243-852D-C71E726A1F3C}"/>
              </a:ext>
            </a:extLst>
          </p:cNvPr>
          <p:cNvSpPr/>
          <p:nvPr/>
        </p:nvSpPr>
        <p:spPr>
          <a:xfrm>
            <a:off x="5846196" y="5658693"/>
            <a:ext cx="1078479" cy="786313"/>
          </a:xfrm>
          <a:prstGeom prst="rect">
            <a:avLst/>
          </a:prstGeom>
          <a:noFill/>
          <a:ln w="3492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/>
              <p:cNvSpPr txBox="1"/>
              <p:nvPr/>
            </p:nvSpPr>
            <p:spPr>
              <a:xfrm>
                <a:off x="6922157" y="5885507"/>
                <a:ext cx="61427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1" name="文本框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22157" y="5885507"/>
                <a:ext cx="614271" cy="369332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03315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占位符 3">
                <a:extLst>
                  <a:ext uri="{FF2B5EF4-FFF2-40B4-BE49-F238E27FC236}">
                    <a16:creationId xmlns:a16="http://schemas.microsoft.com/office/drawing/2014/main" id="{3AA95A00-8B9A-4899-A97E-CDC32B96C6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1285289"/>
                <a:ext cx="1259854" cy="41490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solidFill>
                  <a:srgbClr val="80C0F6"/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b="1" kern="1200">
                    <a:solidFill>
                      <a:schemeClr val="bg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457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kumimoji="1" lang="zh-CN" altLang="en-US" dirty="0">
                    <a:latin typeface="阿里巴巴普惠体 B" panose="00020600040101010101" pitchFamily="18" charset="-122"/>
                    <a:ea typeface="阿里巴巴普惠体 B" panose="00020600040101010101" pitchFamily="18" charset="-122"/>
                    <a:cs typeface="阿里巴巴普惠体 B" panose="00020600040101010101" pitchFamily="18" charset="-122"/>
                  </a:rPr>
                  <a:t>求解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  <m:t>𝜶</m:t>
                        </m:r>
                      </m:e>
                      <m:sup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endParaRPr lang="zh-CN" altLang="en-US" dirty="0"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文本占位符 3">
                <a:extLst>
                  <a:ext uri="{FF2B5EF4-FFF2-40B4-BE49-F238E27FC236}">
                    <a16:creationId xmlns:a16="http://schemas.microsoft.com/office/drawing/2014/main" id="{3AA95A00-8B9A-4899-A97E-CDC32B96C6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1285289"/>
                <a:ext cx="1259854" cy="414902"/>
              </a:xfrm>
              <a:prstGeom prst="roundRect">
                <a:avLst>
                  <a:gd name="adj" fmla="val 50000"/>
                </a:avLst>
              </a:prstGeom>
              <a:blipFill>
                <a:blip r:embed="rId4"/>
                <a:stretch>
                  <a:fillRect b="-28571"/>
                </a:stretch>
              </a:blipFill>
              <a:ln>
                <a:solidFill>
                  <a:srgbClr val="80C0F6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拉格朗日对偶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3018334" y="2326065"/>
                <a:ext cx="3516027" cy="47416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≥0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𝒟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func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</m:t>
                          </m:r>
                          <m:r>
                            <m:rPr>
                              <m:sty m:val="p"/>
                            </m:rPr>
                            <a:rPr lang="zh-CN" altLang="en-US" smtClean="0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≥0</m:t>
                          </m:r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limLow>
                        <m:limLow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</m:lim>
                      </m:limLow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334" y="2326065"/>
                <a:ext cx="3516027" cy="47416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939233" y="2968622"/>
                <a:ext cx="7622931" cy="8798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altLang="zh-CN" b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9233" y="2968622"/>
                <a:ext cx="7622931" cy="87985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矩形 15"/>
              <p:cNvSpPr/>
              <p:nvPr/>
            </p:nvSpPr>
            <p:spPr>
              <a:xfrm>
                <a:off x="2239866" y="4039188"/>
                <a:ext cx="30566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zh-CN" altLang="en-US" i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矩形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9866" y="4039188"/>
                <a:ext cx="3056606" cy="369332"/>
              </a:xfrm>
              <a:prstGeom prst="rect">
                <a:avLst/>
              </a:prstGeom>
              <a:blipFill>
                <a:blip r:embed="rId9"/>
                <a:stretch>
                  <a:fillRect b="-3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772150" y="4492541"/>
                <a:ext cx="1629484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2150" y="4492541"/>
                <a:ext cx="1629484" cy="848566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524374"/>
                <a:ext cx="7660046" cy="66861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使用序列最小优化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MO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算法对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求解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524374"/>
                <a:ext cx="7660046" cy="668610"/>
              </a:xfrm>
              <a:prstGeom prst="rect">
                <a:avLst/>
              </a:prstGeom>
              <a:blipFill>
                <a:blip r:embed="rId11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6356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线性分类器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865094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9630" y="1830823"/>
            <a:ext cx="3956742" cy="324097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占位符 3">
                <a:extLst>
                  <a:ext uri="{FF2B5EF4-FFF2-40B4-BE49-F238E27FC236}">
                    <a16:creationId xmlns:a16="http://schemas.microsoft.com/office/drawing/2014/main" id="{3AA95A00-8B9A-4899-A97E-CDC32B96C6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85289"/>
                <a:ext cx="1808495" cy="41490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solidFill>
                  <a:srgbClr val="80C0F6"/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ctr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b="1" kern="1200">
                    <a:solidFill>
                      <a:schemeClr val="bg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457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sz="16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kumimoji="1" lang="zh-CN" altLang="en-US" dirty="0">
                    <a:latin typeface="阿里巴巴普惠体 B" panose="00020600040101010101" pitchFamily="18" charset="-122"/>
                    <a:ea typeface="阿里巴巴普惠体 B" panose="00020600040101010101" pitchFamily="18" charset="-122"/>
                    <a:cs typeface="阿里巴巴普惠体 B" panose="00020600040101010101" pitchFamily="18" charset="-122"/>
                  </a:rPr>
                  <a:t>求解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p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sSup>
                      <m:sSupPr>
                        <m:ctrlPr>
                          <a:rPr kumimoji="1"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zh-CN" altLang="en-US" dirty="0">
                            <a:latin typeface="阿里巴巴普惠体 B" panose="00020600040101010101" pitchFamily="18" charset="-122"/>
                            <a:ea typeface="阿里巴巴普惠体 B" panose="00020600040101010101" pitchFamily="18" charset="-122"/>
                            <a:cs typeface="阿里巴巴普惠体 B" panose="00020600040101010101" pitchFamily="18" charset="-122"/>
                          </a:rPr>
                          <m:t>和</m:t>
                        </m:r>
                        <m:r>
                          <a:rPr kumimoji="1" lang="en-US" altLang="zh-CN" b="1" i="1" smtClean="0"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  <m:sup>
                        <m:r>
                          <a:rPr kumimoji="1" lang="en-US" altLang="zh-CN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endParaRPr lang="zh-CN" altLang="en-US" dirty="0"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文本占位符 3">
                <a:extLst>
                  <a:ext uri="{FF2B5EF4-FFF2-40B4-BE49-F238E27FC236}">
                    <a16:creationId xmlns:a16="http://schemas.microsoft.com/office/drawing/2014/main" id="{3AA95A00-8B9A-4899-A97E-CDC32B96C6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85289"/>
                <a:ext cx="1808495" cy="414902"/>
              </a:xfrm>
              <a:prstGeom prst="roundRect">
                <a:avLst>
                  <a:gd name="adj" fmla="val 50000"/>
                </a:avLst>
              </a:prstGeom>
              <a:blipFill>
                <a:blip r:embed="rId5"/>
                <a:stretch>
                  <a:fillRect b="-28571"/>
                </a:stretch>
              </a:blipFill>
              <a:ln>
                <a:solidFill>
                  <a:srgbClr val="80C0F6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求解得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后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直接求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  <a:blipFill>
                <a:blip r:embed="rId6"/>
                <a:stretch>
                  <a:fillRect l="-477" b="-41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261215" y="2476232"/>
                <a:ext cx="2028504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1215" y="2476232"/>
                <a:ext cx="2028504" cy="84856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476472"/>
                <a:ext cx="7660046" cy="740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只有支持向量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&gt;0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476472"/>
                <a:ext cx="7660046" cy="74063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489763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求解得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后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𝑏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直接求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489763"/>
                <a:ext cx="7660046" cy="594550"/>
              </a:xfrm>
              <a:prstGeom prst="rect">
                <a:avLst/>
              </a:prstGeom>
              <a:blipFill>
                <a:blip r:embed="rId9"/>
                <a:stretch>
                  <a:fillRect l="-477" b="-41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920090" y="5308856"/>
                <a:ext cx="5611091" cy="7057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=−1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0090" y="5308856"/>
                <a:ext cx="5611091" cy="705706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直接箭头连接符 8"/>
          <p:cNvCxnSpPr/>
          <p:nvPr/>
        </p:nvCxnSpPr>
        <p:spPr>
          <a:xfrm flipV="1">
            <a:off x="7024254" y="2984269"/>
            <a:ext cx="374073" cy="60683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/>
              <p:cNvSpPr/>
              <p:nvPr/>
            </p:nvSpPr>
            <p:spPr>
              <a:xfrm>
                <a:off x="7398327" y="2759726"/>
                <a:ext cx="52405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3" name="矩形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98327" y="2759726"/>
                <a:ext cx="524053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690318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2501" y="2587281"/>
            <a:ext cx="3956742" cy="324097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0092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预测数值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106801" cy="10345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求解得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𝑏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后，每个样例的预测数值（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：函数间隔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106801" cy="1034578"/>
              </a:xfrm>
              <a:prstGeom prst="rect">
                <a:avLst/>
              </a:prstGeom>
              <a:blipFill>
                <a:blip r:embed="rId5"/>
                <a:stretch>
                  <a:fillRect l="-4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119381"/>
                <a:ext cx="7660046" cy="740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只需要计算样例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与支持向量的内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119381"/>
                <a:ext cx="7660046" cy="74063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502440" y="2653801"/>
                <a:ext cx="4572000" cy="903389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2653801"/>
                <a:ext cx="4572000" cy="90338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1931180" y="3914002"/>
                <a:ext cx="2721321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begChr m:val="〈"/>
                          <m:endChr m:val="〉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1180" y="3914002"/>
                <a:ext cx="2721321" cy="84856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783911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50553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可分情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13263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之前支持向量机的推导过程中，数据被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定为线性可分的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应用场景中，数据往往是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不可分的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034417" y="2930721"/>
            <a:ext cx="3974486" cy="3255512"/>
            <a:chOff x="688111" y="2728487"/>
            <a:chExt cx="4485249" cy="3673879"/>
          </a:xfrm>
        </p:grpSpPr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8111" y="2728487"/>
              <a:ext cx="4485249" cy="3673879"/>
            </a:xfrm>
            <a:prstGeom prst="rect">
              <a:avLst/>
            </a:prstGeom>
          </p:spPr>
        </p:pic>
        <p:sp>
          <p:nvSpPr>
            <p:cNvPr id="15" name="椭圆 14"/>
            <p:cNvSpPr/>
            <p:nvPr/>
          </p:nvSpPr>
          <p:spPr>
            <a:xfrm>
              <a:off x="3789405" y="4258962"/>
              <a:ext cx="98854" cy="9885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2134" y="4409348"/>
            <a:ext cx="2368281" cy="1843200"/>
          </a:xfrm>
          <a:prstGeom prst="rect">
            <a:avLst/>
          </a:prstGeom>
        </p:spPr>
      </p:pic>
      <p:pic>
        <p:nvPicPr>
          <p:cNvPr id="17" name="图片 16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578760" y="2560323"/>
            <a:ext cx="2353548" cy="18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8651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13269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ea typeface="阿里巴巴普惠体 B" panose="00020600040101010101" pitchFamily="18" charset="-122"/>
              </a:rPr>
              <a:t>处理不可分情况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增加松弛变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990143" y="1730009"/>
            <a:ext cx="4220835" cy="1618253"/>
            <a:chOff x="2414403" y="2185786"/>
            <a:chExt cx="4220835" cy="161825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矩形 4"/>
                <p:cNvSpPr/>
                <p:nvPr/>
              </p:nvSpPr>
              <p:spPr>
                <a:xfrm>
                  <a:off x="2414403" y="2185786"/>
                  <a:ext cx="2184892" cy="7645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𝜉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f>
                          <m:f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‖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𝑤</m:t>
                        </m:r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‖</m:t>
                            </m:r>
                          </m:e>
                          <m:sup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𝐶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𝜉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5" name="矩形 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14403" y="2185786"/>
                  <a:ext cx="2184892" cy="764505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0" name="组合 9"/>
            <p:cNvGrpSpPr/>
            <p:nvPr/>
          </p:nvGrpSpPr>
          <p:grpSpPr>
            <a:xfrm>
              <a:off x="2414403" y="2987291"/>
              <a:ext cx="4220835" cy="816748"/>
              <a:chOff x="3020433" y="2919477"/>
              <a:chExt cx="4220835" cy="816748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" name="矩形 6"/>
                  <p:cNvSpPr/>
                  <p:nvPr/>
                </p:nvSpPr>
                <p:spPr>
                  <a:xfrm>
                    <a:off x="3020433" y="2919477"/>
                    <a:ext cx="4220835" cy="37497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  <m:t>s</m:t>
                          </m:r>
                          <m:r>
                            <m:rPr>
                              <m:nor/>
                            </m:rPr>
                            <a:rPr lang="zh-CN" altLang="en-US" sz="1600" i="1"/>
                            <m:t>.</m:t>
                          </m:r>
                          <m:r>
                            <m:rPr>
                              <m:sty m:val="p"/>
                            </m:rPr>
                            <a:rPr lang="en-US" altLang="zh-CN" sz="1600" i="1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m:rPr>
                              <m:nor/>
                            </m:rPr>
                            <a:rPr lang="zh-CN" altLang="en-US" sz="1600" i="1"/>
                            <m:t>.</m:t>
                          </m:r>
                          <m:r>
                            <m:rPr>
                              <m:nor/>
                            </m:rPr>
                            <a:rPr lang="en-US" altLang="zh-CN" sz="1600" b="0" i="1" smtClean="0"/>
                            <m:t> </m:t>
                          </m:r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p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sz="160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≥1−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𝜉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=1,…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7" name="矩形 6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020433" y="2919477"/>
                    <a:ext cx="4220835" cy="37497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b="-4839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矩形 8"/>
                  <p:cNvSpPr/>
                  <p:nvPr/>
                </p:nvSpPr>
                <p:spPr>
                  <a:xfrm>
                    <a:off x="3389252" y="3397671"/>
                    <a:ext cx="2204065" cy="33855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zh-CN" altLang="en-US" sz="16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𝜉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≥0,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,…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oMath>
                      </m:oMathPara>
                    </a14:m>
                    <a:endParaRPr lang="zh-CN" altLang="en-US" sz="1600" dirty="0"/>
                  </a:p>
                </p:txBody>
              </p:sp>
            </mc:Choice>
            <mc:Fallback xmlns="">
              <p:sp>
                <p:nvSpPr>
                  <p:cNvPr id="9" name="矩形 8"/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389252" y="3397671"/>
                    <a:ext cx="2204065" cy="338554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b="-1272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262113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拉格朗日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矩形 20"/>
              <p:cNvSpPr/>
              <p:nvPr/>
            </p:nvSpPr>
            <p:spPr>
              <a:xfrm>
                <a:off x="906062" y="3681810"/>
                <a:ext cx="7689273" cy="7645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ℒ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𝜉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𝐶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𝜉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d>
                        <m:dPr>
                          <m:begChr m:val="["/>
                          <m:endChr m:val="]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1+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𝜉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𝜉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21" name="矩形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6062" y="3681810"/>
                <a:ext cx="7689273" cy="76450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365458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偶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2364945" y="4770432"/>
            <a:ext cx="4771506" cy="1937018"/>
            <a:chOff x="2364945" y="4770432"/>
            <a:chExt cx="4771506" cy="19370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矩形 22"/>
                <p:cNvSpPr/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)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23" name="矩形 2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矩形 23"/>
                <p:cNvSpPr/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600" i="1" smtClean="0"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sz="1600" i="1"/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sz="1600" i="1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sz="1600" i="1"/>
                          <m:t>.</m:t>
                        </m:r>
                        <m:r>
                          <m:rPr>
                            <m:nor/>
                          </m:rPr>
                          <a:rPr lang="en-US" altLang="zh-CN" sz="1600" b="0" i="1" smtClean="0"/>
                          <m:t> 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en-US" altLang="zh-CN" sz="16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0≤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sz="16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n-US" altLang="zh-CN" sz="16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zh-CN" sz="1600" b="0" i="0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1600" b="0" i="0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US" altLang="zh-CN" sz="1600" dirty="0"/>
                </a:p>
              </p:txBody>
            </p:sp>
          </mc:Choice>
          <mc:Fallback xmlns="">
            <p:sp>
              <p:nvSpPr>
                <p:cNvPr id="24" name="矩形 2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矩形 24"/>
                <p:cNvSpPr/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oMath>
                    </m:oMathPara>
                  </a14:m>
                  <a:endParaRPr lang="zh-CN" altLang="en-US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矩形 2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20" name="图片 19">
            <a:extLst>
              <a:ext uri="{FF2B5EF4-FFF2-40B4-BE49-F238E27FC236}">
                <a16:creationId xmlns:a16="http://schemas.microsoft.com/office/drawing/2014/main" id="{7DEE35AD-E0E6-A343-E374-C8CFA3F80BE4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6372383" y="411155"/>
            <a:ext cx="2353548" cy="18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78996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支持向量机</a:t>
            </a:r>
            <a:r>
              <a:rPr lang="zh-CN" altLang="en-US" dirty="0"/>
              <a:t>优化求解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883310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损失函数对比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73989" y="2314635"/>
                <a:ext cx="3841886" cy="764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𝑤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‖</m:t>
                          </m:r>
                        </m:e>
                        <m:sup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𝐶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r>
                            <m:rPr>
                              <m:sty m:val="p"/>
                            </m:rPr>
                            <a:rPr lang="zh-CN" altLang="en-US" sz="1600" i="0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</m:nary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0,1−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p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⊤</m:t>
                                  </m:r>
                                </m:sup>
                              </m:sSup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3989" y="2314635"/>
                <a:ext cx="3841886" cy="76450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4330930" y="2511740"/>
                <a:ext cx="4813070" cy="3702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zh-CN" altLang="en-US" sz="1600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zh-CN" altLang="en-US" sz="1600" i="0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p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0930" y="2511740"/>
                <a:ext cx="4813070" cy="370294"/>
              </a:xfrm>
              <a:prstGeom prst="rect">
                <a:avLst/>
              </a:prstGeom>
              <a:blipFill>
                <a:blip r:embed="rId5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图片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9711" y="3079140"/>
            <a:ext cx="4872885" cy="3602640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344325" y="1906686"/>
            <a:ext cx="3841886" cy="37546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机铰链损失（</a:t>
            </a:r>
            <a:r>
              <a:rPr lang="en-US" altLang="zh-CN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inge Loss</a:t>
            </a:r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5468817" y="1906686"/>
            <a:ext cx="2286000" cy="37546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逻辑回归的对数损失</a:t>
            </a:r>
            <a:endParaRPr lang="en-US" altLang="zh-CN" dirty="0">
              <a:solidFill>
                <a:sysClr val="windowText" lastClr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2994504-63F6-41B1-AC6E-FC830F5B7C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4112" y="3284859"/>
            <a:ext cx="340906" cy="135731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FDBE8F4-B6D5-43DE-8D8F-AB1D335E5D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2934" y="3465514"/>
            <a:ext cx="322035" cy="112712"/>
          </a:xfrm>
          <a:prstGeom prst="rect">
            <a:avLst/>
          </a:prstGeom>
        </p:spPr>
      </p:pic>
      <p:sp>
        <p:nvSpPr>
          <p:cNvPr id="13" name="圆角矩形 4">
            <a:extLst>
              <a:ext uri="{FF2B5EF4-FFF2-40B4-BE49-F238E27FC236}">
                <a16:creationId xmlns:a16="http://schemas.microsoft.com/office/drawing/2014/main" id="{A0A31C9A-FF50-4BA7-9410-8874DE15A2DA}"/>
              </a:ext>
            </a:extLst>
          </p:cNvPr>
          <p:cNvSpPr/>
          <p:nvPr/>
        </p:nvSpPr>
        <p:spPr>
          <a:xfrm>
            <a:off x="4940943" y="3809635"/>
            <a:ext cx="1788051" cy="37546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</a:t>
            </a:r>
            <a:r>
              <a:rPr lang="en-US" altLang="zh-CN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y=1</a:t>
            </a:r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情况</a:t>
            </a:r>
          </a:p>
        </p:txBody>
      </p:sp>
    </p:spTree>
    <p:extLst>
      <p:ext uri="{BB962C8B-B14F-4D97-AF65-F5344CB8AC3E}">
        <p14:creationId xmlns:p14="http://schemas.microsoft.com/office/powerpoint/2010/main" val="3721036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算法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05595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4427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3311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坐标上升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1730009"/>
            <a:ext cx="8137923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优化问题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347189" y="2474412"/>
                <a:ext cx="2448426" cy="45474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ax</m:t>
                          </m:r>
                        </m:e>
                        <m:lim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lim>
                      </m:limLow>
                      <m:r>
                        <a:rPr lang="en-US" altLang="zh-CN" i="1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189" y="2474412"/>
                <a:ext cx="2448426" cy="45474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组合 15"/>
          <p:cNvGrpSpPr/>
          <p:nvPr/>
        </p:nvGrpSpPr>
        <p:grpSpPr>
          <a:xfrm>
            <a:off x="502441" y="3079005"/>
            <a:ext cx="8137923" cy="3170039"/>
            <a:chOff x="502441" y="3079005"/>
            <a:chExt cx="8137923" cy="317003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内容占位符 2">
                  <a:extLst>
                    <a:ext uri="{FF2B5EF4-FFF2-40B4-BE49-F238E27FC236}">
                      <a16:creationId xmlns:a16="http://schemas.microsoft.com/office/drawing/2014/main" id="{B0DAA41D-EAD2-4F89-9615-BF03E9AF336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02441" y="3079005"/>
                  <a:ext cx="8137923" cy="3170039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Autofit/>
                </a:bodyPr>
                <a:lstStyle>
                  <a:lvl1pPr marL="285750" indent="-285750" algn="l" defTabSz="914400" rtl="0" eaLnBrk="1" latinLnBrk="0" hangingPunct="1">
                    <a:lnSpc>
                      <a:spcPct val="100000"/>
                    </a:lnSpc>
                    <a:spcBef>
                      <a:spcPts val="1000"/>
                    </a:spcBef>
                    <a:buClr>
                      <a:schemeClr val="accent1"/>
                    </a:buClr>
                    <a:buSzPct val="88000"/>
                    <a:buFont typeface="Wingdings" pitchFamily="2" charset="2"/>
                    <a:buChar char="p"/>
                    <a:defRPr sz="2000" b="0" kern="120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100000"/>
                    <a:buFont typeface="Arial" panose="020B0604020202020204" pitchFamily="34" charset="0"/>
                    <a:buChar char="•"/>
                    <a:defRPr sz="1800" b="0" kern="120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100000"/>
                    <a:buFont typeface="Arial" panose="020B0604020202020204" pitchFamily="34" charset="0"/>
                    <a:buChar char="•"/>
                    <a:defRPr sz="1600" b="0" kern="120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600" b="0" kern="1200">
                      <a:solidFill>
                        <a:schemeClr val="tx1"/>
                      </a:solidFill>
                      <a:latin typeface="+mn-ea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b="0" kern="1200">
                      <a:solidFill>
                        <a:schemeClr val="tx1"/>
                      </a:solidFill>
                      <a:latin typeface="Microsoft YaHei" panose="020B0503020204020204" pitchFamily="34" charset="-122"/>
                      <a:ea typeface="Microsoft YaHei" panose="020B0503020204020204" pitchFamily="34" charset="-122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坐标上升法</a:t>
                  </a:r>
                  <a:endPara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endParaRPr>
                </a:p>
                <a:p>
                  <a:pPr marL="914400" lvl="2" indent="0">
                    <a:lnSpc>
                      <a:spcPct val="150000"/>
                    </a:lnSpc>
                    <a:buNone/>
                  </a:pPr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循环直到收敛：</a:t>
                  </a:r>
                  <a:r>
                    <a:rPr lang="en-US" altLang="zh-CN" dirty="0">
                      <a:latin typeface="Cambria Math" panose="02040503050406030204" pitchFamily="18" charset="0"/>
                      <a:ea typeface="Cambria Math" panose="02040503050406030204" pitchFamily="18" charset="0"/>
                      <a:cs typeface="阿里巴巴普惠体 R" panose="00020600040101010101" pitchFamily="18" charset="-122"/>
                    </a:rPr>
                    <a:t>{</a:t>
                  </a:r>
                </a:p>
                <a:p>
                  <a:pPr marL="1371600" lvl="3" indent="0">
                    <a:lnSpc>
                      <a:spcPct val="150000"/>
                    </a:lnSpc>
                    <a:buNone/>
                  </a:pPr>
                  <a:r>
                    <a:rPr lang="zh-CN" altLang="en-US" dirty="0">
                      <a:latin typeface="阿里巴巴普惠体 R" panose="00020600040101010101" pitchFamily="18" charset="-122"/>
                      <a:ea typeface="阿里巴巴普惠体 R" panose="00020600040101010101" pitchFamily="18" charset="-122"/>
                      <a:cs typeface="阿里巴巴普惠体 R" panose="00020600040101010101" pitchFamily="18" charset="-122"/>
                    </a:rPr>
                    <a:t>对于</a:t>
                  </a:r>
                  <a14:m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{</m:t>
                      </m:r>
                    </m:oMath>
                  </a14:m>
                  <a:endParaRPr lang="en-US" altLang="zh-CN" b="0" dirty="0">
                    <a:latin typeface="阿里巴巴普惠体 R" panose="00020600040101010101" pitchFamily="18" charset="-122"/>
                  </a:endParaRPr>
                </a:p>
                <a:p>
                  <a:pPr marL="1828800" lvl="4" indent="0">
                    <a:lnSpc>
                      <a:spcPct val="150000"/>
                    </a:lnSpc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:=</m:t>
                        </m:r>
                        <m:r>
                          <m:rPr>
                            <m:sty m:val="p"/>
                          </m:rPr>
                          <a:rPr lang="zh-CN" altLang="en-US" sz="1600">
                            <a:latin typeface="Cambria Math" panose="02040503050406030204" pitchFamily="18" charset="0"/>
                          </a:rPr>
                          <m:t>arg</m:t>
                        </m:r>
                        <m:limLow>
                          <m:limLow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lim>
                        </m:limLow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,…,</m:t>
                            </m:r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zh-CN" altLang="en-US" sz="160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b>
                            </m:s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̂"/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zh-CN" altLang="en-US" sz="160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,…,</m:t>
                            </m:r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zh-CN" altLang="en-US" sz="1600" i="1" dirty="0">
                    <a:latin typeface="Cambria Math" panose="02040503050406030204" pitchFamily="18" charset="0"/>
                  </a:endParaRPr>
                </a:p>
                <a:p>
                  <a:pPr marL="1371600" lvl="3" indent="0">
                    <a:lnSpc>
                      <a:spcPct val="150000"/>
                    </a:lnSpc>
                    <a:buNone/>
                  </a:pPr>
                  <a:endParaRPr lang="en-US" altLang="zh-CN" b="0" dirty="0"/>
                </a:p>
              </p:txBody>
            </p:sp>
          </mc:Choice>
          <mc:Fallback xmlns="">
            <p:sp>
              <p:nvSpPr>
                <p:cNvPr id="14" name="内容占位符 2">
                  <a:extLst>
                    <a:ext uri="{FF2B5EF4-FFF2-40B4-BE49-F238E27FC236}">
                      <a16:creationId xmlns:a16="http://schemas.microsoft.com/office/drawing/2014/main" id="{B0DAA41D-EAD2-4F89-9615-BF03E9AF3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441" y="3079005"/>
                  <a:ext cx="8137923" cy="3170039"/>
                </a:xfrm>
                <a:prstGeom prst="rect">
                  <a:avLst/>
                </a:prstGeom>
                <a:blipFill>
                  <a:blip r:embed="rId5"/>
                  <a:stretch>
                    <a:fillRect l="-449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文本框 9"/>
                <p:cNvSpPr txBox="1"/>
                <p:nvPr/>
              </p:nvSpPr>
              <p:spPr>
                <a:xfrm>
                  <a:off x="1886773" y="5330727"/>
                  <a:ext cx="32252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}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0" name="文本框 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86773" y="5330727"/>
                  <a:ext cx="322524" cy="338554"/>
                </a:xfrm>
                <a:prstGeom prst="rect">
                  <a:avLst/>
                </a:prstGeom>
                <a:blipFill>
                  <a:blip r:embed="rId6"/>
                  <a:stretch>
                    <a:fillRect b="-10714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" name="文本框 10"/>
            <p:cNvSpPr txBox="1"/>
            <p:nvPr/>
          </p:nvSpPr>
          <p:spPr>
            <a:xfrm>
              <a:off x="1481339" y="5669281"/>
              <a:ext cx="2744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Cambria Math" panose="02040503050406030204" pitchFamily="18" charset="0"/>
                  <a:ea typeface="Cambria Math" panose="02040503050406030204" pitchFamily="18" charset="0"/>
                </a:rPr>
                <a:t>}</a:t>
              </a:r>
              <a:endParaRPr lang="zh-CN" altLang="en-US" dirty="0">
                <a:latin typeface="Cambria Math" panose="020405030504060302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912337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3311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坐标上升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2281" y="1765531"/>
            <a:ext cx="5634745" cy="4440515"/>
          </a:xfrm>
          <a:prstGeom prst="rect">
            <a:avLst/>
          </a:prstGeom>
        </p:spPr>
      </p:pic>
      <p:sp>
        <p:nvSpPr>
          <p:cNvPr id="17" name="Text Box 66">
            <a:extLst>
              <a:ext uri="{FF2B5EF4-FFF2-40B4-BE49-F238E27FC236}">
                <a16:creationId xmlns:a16="http://schemas.microsoft.com/office/drawing/2014/main" id="{F103116C-3498-E741-9615-C89B965BDA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4170" y="6158988"/>
            <a:ext cx="43309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维坐标上升法样例</a:t>
            </a:r>
            <a:endParaRPr lang="ru-RU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682326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49597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（</a:t>
            </a:r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MO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机的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034502" y="2354377"/>
            <a:ext cx="5432392" cy="2021079"/>
            <a:chOff x="2364945" y="4770432"/>
            <a:chExt cx="4771506" cy="202107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矩形 18"/>
                <p:cNvSpPr/>
                <p:nvPr/>
              </p:nvSpPr>
              <p:spPr>
                <a:xfrm>
                  <a:off x="2364945" y="4770432"/>
                  <a:ext cx="4771506" cy="124226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lim>
                        </m:limLow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)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nary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9" name="矩形 1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4945" y="4770432"/>
                  <a:ext cx="4771506" cy="1242263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矩形 19"/>
                <p:cNvSpPr/>
                <p:nvPr/>
              </p:nvSpPr>
              <p:spPr>
                <a:xfrm>
                  <a:off x="2438073" y="5573613"/>
                  <a:ext cx="3467488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b="0" i="1" smtClean="0">
                            <a:solidFill>
                              <a:schemeClr val="tx1"/>
                            </a:solidFill>
                          </a:rPr>
                          <m:t> </m:t>
                        </m:r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0≤</m:t>
                        </m:r>
                        <m:sSub>
                          <m:sSubPr>
                            <m:ctrlPr>
                              <a:rPr lang="en-US" altLang="zh-CN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en-US" altLang="zh-CN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zh-CN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US" altLang="zh-CN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0" name="矩形 1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38073" y="5573613"/>
                  <a:ext cx="3467488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39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矩形 20"/>
                <p:cNvSpPr/>
                <p:nvPr/>
              </p:nvSpPr>
              <p:spPr>
                <a:xfrm>
                  <a:off x="2990143" y="5942945"/>
                  <a:ext cx="1629485" cy="84856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zh-CN" alt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1" name="矩形 20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90143" y="5942945"/>
                  <a:ext cx="1629485" cy="84856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399821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法直接使用坐标上升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695263" y="5018736"/>
                <a:ext cx="4110869" cy="87985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zh-CN" altLang="en-US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p>
                        <m:sSup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≠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5263" y="5018736"/>
                <a:ext cx="4110869" cy="87985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085449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8"/>
                <a:ext cx="7660046" cy="244633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次优化两个变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2" indent="0">
                  <a:lnSpc>
                    <a:spcPct val="15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循环直到收敛：</a:t>
                </a:r>
                <a:r>
                  <a:rPr lang="en-US" altLang="zh-CN" dirty="0">
                    <a:latin typeface="Cambria Math" panose="02040503050406030204" pitchFamily="18" charset="0"/>
                    <a:ea typeface="Cambria Math" panose="02040503050406030204" pitchFamily="18" charset="0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1714500" lvl="3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选取一组变量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更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714500" lvl="3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变量，对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𝑊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再次优化</a:t>
                </a:r>
                <a:endParaRPr lang="zh-CN" altLang="en-US" sz="1600" i="1" dirty="0">
                  <a:latin typeface="Cambria Math" panose="02040503050406030204" pitchFamily="18" charset="0"/>
                </a:endParaRPr>
              </a:p>
              <a:p>
                <a:pPr marL="1371600" lvl="3" indent="0">
                  <a:lnSpc>
                    <a:spcPct val="150000"/>
                  </a:lnSpc>
                  <a:buNone/>
                </a:pPr>
                <a:endParaRPr lang="en-US" altLang="zh-CN" dirty="0"/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8"/>
                <a:ext cx="7660046" cy="2446337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257410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收敛判别：当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𝑊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变化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小于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预设值，如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0.01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257410"/>
                <a:ext cx="7660046" cy="594550"/>
              </a:xfrm>
              <a:prstGeom prst="rect">
                <a:avLst/>
              </a:prstGeom>
              <a:blipFill>
                <a:blip r:embed="rId5"/>
                <a:stretch>
                  <a:fillRect l="-477" b="-30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/>
              <p:cNvSpPr txBox="1"/>
              <p:nvPr/>
            </p:nvSpPr>
            <p:spPr>
              <a:xfrm>
                <a:off x="1523905" y="3540119"/>
                <a:ext cx="322524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4" name="文本框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3905" y="3540119"/>
                <a:ext cx="322524" cy="338554"/>
              </a:xfrm>
              <a:prstGeom prst="rect">
                <a:avLst/>
              </a:prstGeom>
              <a:blipFill>
                <a:blip r:embed="rId6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5230698"/>
                <a:ext cx="7781749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序列最小优化算法核心优势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变量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步骤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2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十分高效</a:t>
                </a:r>
              </a:p>
              <a:p>
                <a:pPr>
                  <a:lnSpc>
                    <a:spcPct val="15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5230698"/>
                <a:ext cx="7781749" cy="594550"/>
              </a:xfrm>
              <a:prstGeom prst="rect">
                <a:avLst/>
              </a:prstGeom>
              <a:blipFill>
                <a:blip r:embed="rId7"/>
                <a:stretch>
                  <a:fillRect l="-470" b="-51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49597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（</a:t>
            </a:r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MO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6100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边界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可分的情形下，决策边界可以是多样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594919" y="3084615"/>
            <a:ext cx="3560289" cy="2095386"/>
            <a:chOff x="2594919" y="3084615"/>
            <a:chExt cx="3560289" cy="2095386"/>
          </a:xfrm>
        </p:grpSpPr>
        <p:sp>
          <p:nvSpPr>
            <p:cNvPr id="8" name="十字形 7"/>
            <p:cNvSpPr/>
            <p:nvPr/>
          </p:nvSpPr>
          <p:spPr>
            <a:xfrm flipH="1">
              <a:off x="2924433" y="338575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十字形 8"/>
            <p:cNvSpPr/>
            <p:nvPr/>
          </p:nvSpPr>
          <p:spPr>
            <a:xfrm flipH="1">
              <a:off x="3575222" y="384670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十字形 10"/>
            <p:cNvSpPr/>
            <p:nvPr/>
          </p:nvSpPr>
          <p:spPr>
            <a:xfrm flipH="1">
              <a:off x="3171568" y="426683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十字形 13"/>
            <p:cNvSpPr/>
            <p:nvPr/>
          </p:nvSpPr>
          <p:spPr>
            <a:xfrm flipH="1">
              <a:off x="3575222" y="4629300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十字形 14"/>
            <p:cNvSpPr/>
            <p:nvPr/>
          </p:nvSpPr>
          <p:spPr>
            <a:xfrm flipH="1">
              <a:off x="2594919" y="402757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十字形 15"/>
            <p:cNvSpPr/>
            <p:nvPr/>
          </p:nvSpPr>
          <p:spPr>
            <a:xfrm flipH="1">
              <a:off x="2833817" y="4661521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十字形 16"/>
            <p:cNvSpPr/>
            <p:nvPr/>
          </p:nvSpPr>
          <p:spPr>
            <a:xfrm flipH="1">
              <a:off x="3352800" y="4998769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4794422" y="382384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矩形 18"/>
            <p:cNvSpPr/>
            <p:nvPr/>
          </p:nvSpPr>
          <p:spPr>
            <a:xfrm>
              <a:off x="5268097" y="416308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矩形 19"/>
            <p:cNvSpPr/>
            <p:nvPr/>
          </p:nvSpPr>
          <p:spPr>
            <a:xfrm>
              <a:off x="5103340" y="4525550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5457568" y="497590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矩形 21"/>
            <p:cNvSpPr/>
            <p:nvPr/>
          </p:nvSpPr>
          <p:spPr>
            <a:xfrm>
              <a:off x="5934074" y="356698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矩形 22"/>
            <p:cNvSpPr/>
            <p:nvPr/>
          </p:nvSpPr>
          <p:spPr>
            <a:xfrm>
              <a:off x="5949262" y="407246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5457568" y="362206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矩形 24"/>
            <p:cNvSpPr/>
            <p:nvPr/>
          </p:nvSpPr>
          <p:spPr>
            <a:xfrm>
              <a:off x="5206313" y="327607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十字形 25"/>
            <p:cNvSpPr/>
            <p:nvPr/>
          </p:nvSpPr>
          <p:spPr>
            <a:xfrm flipH="1">
              <a:off x="3278660" y="308461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27" name="直接连接符 26"/>
          <p:cNvCxnSpPr/>
          <p:nvPr/>
        </p:nvCxnSpPr>
        <p:spPr>
          <a:xfrm>
            <a:off x="3501083" y="2614371"/>
            <a:ext cx="1373014" cy="3097427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 flipH="1">
            <a:off x="3893794" y="2833816"/>
            <a:ext cx="779152" cy="271024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4238400" y="2570205"/>
            <a:ext cx="0" cy="315509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 flipH="1">
            <a:off x="4042077" y="2833816"/>
            <a:ext cx="969360" cy="271024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 flipH="1">
            <a:off x="3703955" y="2702011"/>
            <a:ext cx="373777" cy="2842054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3565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3921121"/>
                <a:ext cx="4377129" cy="109173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失一般性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固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zh-CN" altLang="en-US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zh-CN" altLang="en-US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zh-CN" altLang="en-US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变量，对𝑊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𝛼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再次优化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3921121"/>
                <a:ext cx="4377129" cy="1091731"/>
              </a:xfrm>
              <a:prstGeom prst="rect">
                <a:avLst/>
              </a:prstGeom>
              <a:blipFill>
                <a:blip r:embed="rId4"/>
                <a:stretch>
                  <a:fillRect l="-836" r="-13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组合 13"/>
          <p:cNvGrpSpPr/>
          <p:nvPr/>
        </p:nvGrpSpPr>
        <p:grpSpPr>
          <a:xfrm>
            <a:off x="681738" y="1900740"/>
            <a:ext cx="4771506" cy="1937018"/>
            <a:chOff x="2364945" y="4770432"/>
            <a:chExt cx="4771506" cy="19370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矩形 14"/>
                <p:cNvSpPr/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)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5" name="矩形 1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矩形 15"/>
                <p:cNvSpPr/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sz="1600" b="0" i="1" smtClean="0">
                            <a:solidFill>
                              <a:schemeClr val="tx1"/>
                            </a:solidFill>
                          </a:rPr>
                          <m:t> 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0≤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US" altLang="zh-CN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" name="矩形 1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矩形 16"/>
                <p:cNvSpPr/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oMath>
                    </m:oMathPara>
                  </a14:m>
                  <a:endParaRPr lang="zh-CN" altLang="en-US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7" name="矩形 1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681738" y="4848178"/>
                <a:ext cx="3383875" cy="764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3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𝜁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4848178"/>
                <a:ext cx="3383875" cy="76450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930100" y="5584400"/>
                <a:ext cx="2379626" cy="6563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>
                          <a:latin typeface="Cambria Math" panose="02040503050406030204" pitchFamily="18" charset="0"/>
                        </a:rPr>
                        <m:t>⇒</m:t>
                      </m:r>
                      <m:r>
                        <m:rPr>
                          <m:nor/>
                        </m:rPr>
                        <a:rPr lang="zh-CN" altLang="en-US" sz="1600" i="1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den>
                      </m:f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𝜁</m:t>
                          </m:r>
                        </m:num>
                        <m:den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0100" y="5584400"/>
                <a:ext cx="2379626" cy="65639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930100" y="6276554"/>
                <a:ext cx="2167773" cy="3749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𝜁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0100" y="6276554"/>
                <a:ext cx="2167773" cy="374974"/>
              </a:xfrm>
              <a:prstGeom prst="rect">
                <a:avLst/>
              </a:prstGeom>
              <a:blipFill>
                <a:blip r:embed="rId10"/>
                <a:stretch>
                  <a:fillRect b="-491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3" name="图片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89612" y="2921494"/>
            <a:ext cx="3855720" cy="3303270"/>
          </a:xfrm>
          <a:prstGeom prst="rect">
            <a:avLst/>
          </a:prstGeom>
        </p:spPr>
      </p:pic>
      <p:sp>
        <p:nvSpPr>
          <p:cNvPr id="19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49597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（</a:t>
            </a:r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MO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5809599" y="2027284"/>
            <a:ext cx="2532185" cy="56104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支持向量机的优化问题</a:t>
            </a:r>
          </a:p>
        </p:txBody>
      </p:sp>
    </p:spTree>
    <p:extLst>
      <p:ext uri="{BB962C8B-B14F-4D97-AF65-F5344CB8AC3E}">
        <p14:creationId xmlns:p14="http://schemas.microsoft.com/office/powerpoint/2010/main" val="72201514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zh-CN" altLang="en-US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𝜁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</m:d>
                          </m:sup>
                        </m:sSup>
                      </m:e>
                    </m:d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1</m:t>
                            </m:r>
                          </m:e>
                        </m:d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优化目标函数可以重写为</a:t>
                </a: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  <a:blipFill>
                <a:blip r:embed="rId4"/>
                <a:stretch>
                  <a:fillRect l="-477" b="-134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1689" y="5139608"/>
                <a:ext cx="8469307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转化为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变量的二次优化问题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689" y="5139608"/>
                <a:ext cx="8469307" cy="5945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组合 13"/>
          <p:cNvGrpSpPr/>
          <p:nvPr/>
        </p:nvGrpSpPr>
        <p:grpSpPr>
          <a:xfrm>
            <a:off x="2222967" y="3202876"/>
            <a:ext cx="4771506" cy="1937018"/>
            <a:chOff x="2364945" y="4770432"/>
            <a:chExt cx="4771506" cy="19370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矩形 14"/>
                <p:cNvSpPr/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)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5" name="矩形 1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矩形 15"/>
                <p:cNvSpPr/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sz="1600" b="0" i="1" smtClean="0">
                            <a:solidFill>
                              <a:schemeClr val="tx1"/>
                            </a:solidFill>
                          </a:rPr>
                          <m:t> 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0≤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US" altLang="zh-CN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" name="矩形 1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矩形 16"/>
                <p:cNvSpPr/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oMath>
                    </m:oMathPara>
                  </a14:m>
                  <a:endParaRPr lang="zh-CN" altLang="en-US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7" name="矩形 1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2352254" y="2320609"/>
                <a:ext cx="4796890" cy="46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𝑊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,…,</m:t>
                          </m:r>
                          <m:sSub>
                            <m:sSub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𝑊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𝜁</m:t>
                              </m:r>
                              <m:r>
                                <a:rPr lang="zh-CN" altLang="en-US" sz="160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b>
                                  <m:r>
                                    <a:rPr lang="zh-CN" altLang="en-US" sz="160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,…,</m:t>
                          </m:r>
                          <m:sSub>
                            <m:sSub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2254" y="2320609"/>
                <a:ext cx="4796890" cy="4608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2795596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原始的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314793" y="5633972"/>
            <a:ext cx="2871812" cy="770269"/>
            <a:chOff x="2693586" y="5686543"/>
            <a:chExt cx="2871812" cy="77026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矩形 2"/>
                <p:cNvSpPr/>
                <p:nvPr/>
              </p:nvSpPr>
              <p:spPr>
                <a:xfrm>
                  <a:off x="2693586" y="5686543"/>
                  <a:ext cx="2871812" cy="45249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limLow>
                              <m:limLow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 sz="1600">
                                    <a:latin typeface="Cambria Math" panose="02040503050406030204" pitchFamily="18" charset="0"/>
                                  </a:rPr>
                                  <m:t>max</m:t>
                                </m:r>
                              </m:e>
                              <m:lim>
                                <m:sSub>
                                  <m:sSub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zh-CN" altLang="en-US" sz="160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lim>
                            </m:limLow>
                          </m:e>
                          <m:sub>
                            <m:r>
                              <a:rPr lang="en-US" altLang="zh-CN" sz="1600" i="1">
                                <a:latin typeface="Cambria Math" panose="02040503050406030204" pitchFamily="18" charset="0"/>
                              </a:rPr>
                              <m:t>  </m:t>
                            </m:r>
                          </m:sub>
                        </m:sSub>
                        <m:r>
                          <a:rPr lang="en-US" altLang="zh-CN" sz="16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𝑎</m:t>
                        </m:r>
                        <m:sSubSup>
                          <m:sSub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𝑏</m:t>
                        </m:r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𝑐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" name="矩形 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93586" y="5686543"/>
                  <a:ext cx="2871812" cy="452496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矩形 19"/>
                <p:cNvSpPr/>
                <p:nvPr/>
              </p:nvSpPr>
              <p:spPr>
                <a:xfrm>
                  <a:off x="2848165" y="6118258"/>
                  <a:ext cx="1629292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sz="1600" b="0" i="1" smtClean="0">
                            <a:solidFill>
                              <a:schemeClr val="tx1"/>
                            </a:solidFill>
                          </a:rPr>
                          <m:t>  </m:t>
                        </m:r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0≤</m:t>
                        </m:r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 sz="1600"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𝐶</m:t>
                        </m:r>
                      </m:oMath>
                    </m:oMathPara>
                  </a14:m>
                  <a:endParaRPr lang="en-US" altLang="zh-CN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0" name="矩形 1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48165" y="6118258"/>
                  <a:ext cx="1629292" cy="338554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3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49597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（</a:t>
            </a:r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MO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361340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序列最小优化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2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次函数的优化十分高效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3149779" y="4998471"/>
            <a:ext cx="3201839" cy="949858"/>
            <a:chOff x="2693586" y="5686543"/>
            <a:chExt cx="3201839" cy="94985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矩形 2"/>
                <p:cNvSpPr/>
                <p:nvPr/>
              </p:nvSpPr>
              <p:spPr>
                <a:xfrm>
                  <a:off x="2693586" y="5686543"/>
                  <a:ext cx="3201839" cy="49744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limLow>
                              <m:limLow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max</m:t>
                                </m:r>
                              </m:e>
                              <m:lim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𝛼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lim>
                            </m:limLow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  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𝑊</m:t>
                        </m:r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𝑎</m:t>
                        </m:r>
                        <m:sSubSup>
                          <m:sSub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𝑏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𝑐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3" name="矩形 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93586" y="5686543"/>
                  <a:ext cx="3201839" cy="497444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矩形 19"/>
                <p:cNvSpPr/>
                <p:nvPr/>
              </p:nvSpPr>
              <p:spPr>
                <a:xfrm>
                  <a:off x="2899297" y="6267069"/>
                  <a:ext cx="180735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b="0" i="1" smtClean="0">
                            <a:solidFill>
                              <a:schemeClr val="tx1"/>
                            </a:solidFill>
                          </a:rPr>
                          <m:t>  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0≤</m:t>
                        </m:r>
                        <m:sSub>
                          <m:sSub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𝐶</m:t>
                        </m:r>
                      </m:oMath>
                    </m:oMathPara>
                  </a14:m>
                  <a:endParaRPr lang="en-US" altLang="zh-CN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0" name="矩形 1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99297" y="6267069"/>
                  <a:ext cx="1807354" cy="369332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组合 20"/>
          <p:cNvGrpSpPr/>
          <p:nvPr/>
        </p:nvGrpSpPr>
        <p:grpSpPr>
          <a:xfrm>
            <a:off x="3493969" y="2743198"/>
            <a:ext cx="2184962" cy="1767961"/>
            <a:chOff x="574714" y="2570204"/>
            <a:chExt cx="2184962" cy="1767961"/>
          </a:xfrm>
        </p:grpSpPr>
        <p:cxnSp>
          <p:nvCxnSpPr>
            <p:cNvPr id="23" name="直接箭头连接符 22"/>
            <p:cNvCxnSpPr/>
            <p:nvPr/>
          </p:nvCxnSpPr>
          <p:spPr>
            <a:xfrm>
              <a:off x="1089850" y="4020064"/>
              <a:ext cx="16698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直接箭头连接符 23"/>
            <p:cNvCxnSpPr/>
            <p:nvPr/>
          </p:nvCxnSpPr>
          <p:spPr>
            <a:xfrm flipV="1">
              <a:off x="1471622" y="2570204"/>
              <a:ext cx="0" cy="144986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任意多边形 26"/>
            <p:cNvSpPr/>
            <p:nvPr/>
          </p:nvSpPr>
          <p:spPr>
            <a:xfrm rot="10800000">
              <a:off x="574714" y="3176886"/>
              <a:ext cx="1668875" cy="686661"/>
            </a:xfrm>
            <a:custGeom>
              <a:avLst/>
              <a:gdLst>
                <a:gd name="connsiteX0" fmla="*/ 0 w 1120346"/>
                <a:gd name="connsiteY0" fmla="*/ 0 h 1054445"/>
                <a:gd name="connsiteX1" fmla="*/ 609600 w 1120346"/>
                <a:gd name="connsiteY1" fmla="*/ 1054443 h 1054445"/>
                <a:gd name="connsiteX2" fmla="*/ 1120346 w 1120346"/>
                <a:gd name="connsiteY2" fmla="*/ 8238 h 105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0346" h="1054445">
                  <a:moveTo>
                    <a:pt x="0" y="0"/>
                  </a:moveTo>
                  <a:cubicBezTo>
                    <a:pt x="211438" y="526535"/>
                    <a:pt x="422876" y="1053070"/>
                    <a:pt x="609600" y="1054443"/>
                  </a:cubicBezTo>
                  <a:cubicBezTo>
                    <a:pt x="796324" y="1055816"/>
                    <a:pt x="958335" y="532027"/>
                    <a:pt x="1120346" y="8238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9" name="直接连接符 28"/>
            <p:cNvCxnSpPr/>
            <p:nvPr/>
          </p:nvCxnSpPr>
          <p:spPr>
            <a:xfrm flipV="1">
              <a:off x="2149475" y="3188043"/>
              <a:ext cx="0" cy="832021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30" name="对象 29"/>
            <p:cNvGraphicFramePr>
              <a:graphicFrameLocks noChangeAspect="1"/>
            </p:cNvGraphicFramePr>
            <p:nvPr/>
          </p:nvGraphicFramePr>
          <p:xfrm>
            <a:off x="1412875" y="4100040"/>
            <a:ext cx="115888" cy="2381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Formula" r:id="rId7" imgW="71640" imgH="148680" progId="Equation.Ribbit">
                    <p:embed/>
                  </p:oleObj>
                </mc:Choice>
                <mc:Fallback>
                  <p:oleObj name="Formula" r:id="rId7" imgW="71640" imgH="148680" progId="Equation.Ribbit">
                    <p:embed/>
                    <p:pic>
                      <p:nvPicPr>
                        <p:cNvPr id="30" name="对象 29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1412875" y="4100040"/>
                          <a:ext cx="115888" cy="23812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1" name="组合 30"/>
          <p:cNvGrpSpPr/>
          <p:nvPr/>
        </p:nvGrpSpPr>
        <p:grpSpPr>
          <a:xfrm>
            <a:off x="1065087" y="2743198"/>
            <a:ext cx="1748525" cy="1767961"/>
            <a:chOff x="1011151" y="2570204"/>
            <a:chExt cx="1748525" cy="1767961"/>
          </a:xfrm>
        </p:grpSpPr>
        <p:cxnSp>
          <p:nvCxnSpPr>
            <p:cNvPr id="32" name="直接箭头连接符 31"/>
            <p:cNvCxnSpPr/>
            <p:nvPr/>
          </p:nvCxnSpPr>
          <p:spPr>
            <a:xfrm>
              <a:off x="1089850" y="4020064"/>
              <a:ext cx="16698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/>
            <p:nvPr/>
          </p:nvCxnSpPr>
          <p:spPr>
            <a:xfrm flipV="1">
              <a:off x="1471622" y="2570204"/>
              <a:ext cx="0" cy="144986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任意多边形 35"/>
            <p:cNvSpPr/>
            <p:nvPr/>
          </p:nvSpPr>
          <p:spPr>
            <a:xfrm rot="10800000">
              <a:off x="1011151" y="3176886"/>
              <a:ext cx="1668875" cy="686661"/>
            </a:xfrm>
            <a:custGeom>
              <a:avLst/>
              <a:gdLst>
                <a:gd name="connsiteX0" fmla="*/ 0 w 1120346"/>
                <a:gd name="connsiteY0" fmla="*/ 0 h 1054445"/>
                <a:gd name="connsiteX1" fmla="*/ 609600 w 1120346"/>
                <a:gd name="connsiteY1" fmla="*/ 1054443 h 1054445"/>
                <a:gd name="connsiteX2" fmla="*/ 1120346 w 1120346"/>
                <a:gd name="connsiteY2" fmla="*/ 8238 h 105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0346" h="1054445">
                  <a:moveTo>
                    <a:pt x="0" y="0"/>
                  </a:moveTo>
                  <a:cubicBezTo>
                    <a:pt x="211438" y="526535"/>
                    <a:pt x="422876" y="1053070"/>
                    <a:pt x="609600" y="1054443"/>
                  </a:cubicBezTo>
                  <a:cubicBezTo>
                    <a:pt x="796324" y="1055816"/>
                    <a:pt x="958335" y="532027"/>
                    <a:pt x="1120346" y="8238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8" name="直接连接符 37"/>
            <p:cNvCxnSpPr/>
            <p:nvPr/>
          </p:nvCxnSpPr>
          <p:spPr>
            <a:xfrm flipV="1">
              <a:off x="2149475" y="3188043"/>
              <a:ext cx="0" cy="832021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39" name="对象 38"/>
            <p:cNvGraphicFramePr>
              <a:graphicFrameLocks noChangeAspect="1"/>
            </p:cNvGraphicFramePr>
            <p:nvPr/>
          </p:nvGraphicFramePr>
          <p:xfrm>
            <a:off x="1412875" y="4100040"/>
            <a:ext cx="115888" cy="2381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Formula" r:id="rId9" imgW="71640" imgH="148680" progId="Equation.Ribbit">
                    <p:embed/>
                  </p:oleObj>
                </mc:Choice>
                <mc:Fallback>
                  <p:oleObj name="Formula" r:id="rId9" imgW="71640" imgH="148680" progId="Equation.Ribbit">
                    <p:embed/>
                    <p:pic>
                      <p:nvPicPr>
                        <p:cNvPr id="39" name="对象 38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1412875" y="4100040"/>
                          <a:ext cx="115888" cy="23812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41" name="直接连接符 40"/>
            <p:cNvCxnSpPr/>
            <p:nvPr/>
          </p:nvCxnSpPr>
          <p:spPr>
            <a:xfrm flipV="1">
              <a:off x="1762341" y="3188043"/>
              <a:ext cx="0" cy="832021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组合 41"/>
          <p:cNvGrpSpPr/>
          <p:nvPr/>
        </p:nvGrpSpPr>
        <p:grpSpPr>
          <a:xfrm>
            <a:off x="6405405" y="2743198"/>
            <a:ext cx="2216420" cy="1767961"/>
            <a:chOff x="1089850" y="2570204"/>
            <a:chExt cx="2216420" cy="1767961"/>
          </a:xfrm>
        </p:grpSpPr>
        <p:cxnSp>
          <p:nvCxnSpPr>
            <p:cNvPr id="43" name="直接箭头连接符 42"/>
            <p:cNvCxnSpPr/>
            <p:nvPr/>
          </p:nvCxnSpPr>
          <p:spPr>
            <a:xfrm>
              <a:off x="1089850" y="4020064"/>
              <a:ext cx="16698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直接箭头连接符 43"/>
            <p:cNvCxnSpPr/>
            <p:nvPr/>
          </p:nvCxnSpPr>
          <p:spPr>
            <a:xfrm flipV="1">
              <a:off x="1471622" y="2570204"/>
              <a:ext cx="0" cy="144986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7" name="任意多边形 46"/>
            <p:cNvSpPr/>
            <p:nvPr/>
          </p:nvSpPr>
          <p:spPr>
            <a:xfrm rot="10800000">
              <a:off x="1637395" y="3176886"/>
              <a:ext cx="1668875" cy="686661"/>
            </a:xfrm>
            <a:custGeom>
              <a:avLst/>
              <a:gdLst>
                <a:gd name="connsiteX0" fmla="*/ 0 w 1120346"/>
                <a:gd name="connsiteY0" fmla="*/ 0 h 1054445"/>
                <a:gd name="connsiteX1" fmla="*/ 609600 w 1120346"/>
                <a:gd name="connsiteY1" fmla="*/ 1054443 h 1054445"/>
                <a:gd name="connsiteX2" fmla="*/ 1120346 w 1120346"/>
                <a:gd name="connsiteY2" fmla="*/ 8238 h 105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0346" h="1054445">
                  <a:moveTo>
                    <a:pt x="0" y="0"/>
                  </a:moveTo>
                  <a:cubicBezTo>
                    <a:pt x="211438" y="526535"/>
                    <a:pt x="422876" y="1053070"/>
                    <a:pt x="609600" y="1054443"/>
                  </a:cubicBezTo>
                  <a:cubicBezTo>
                    <a:pt x="796324" y="1055816"/>
                    <a:pt x="958335" y="532027"/>
                    <a:pt x="1120346" y="8238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9" name="直接连接符 48"/>
            <p:cNvCxnSpPr/>
            <p:nvPr/>
          </p:nvCxnSpPr>
          <p:spPr>
            <a:xfrm flipV="1">
              <a:off x="2149475" y="3188043"/>
              <a:ext cx="0" cy="832021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0" name="对象 49"/>
            <p:cNvGraphicFramePr>
              <a:graphicFrameLocks noChangeAspect="1"/>
            </p:cNvGraphicFramePr>
            <p:nvPr/>
          </p:nvGraphicFramePr>
          <p:xfrm>
            <a:off x="1412875" y="4100040"/>
            <a:ext cx="115888" cy="2381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Formula" r:id="rId10" imgW="71640" imgH="148680" progId="Equation.Ribbit">
                    <p:embed/>
                  </p:oleObj>
                </mc:Choice>
                <mc:Fallback>
                  <p:oleObj name="Formula" r:id="rId10" imgW="71640" imgH="148680" progId="Equation.Ribbit">
                    <p:embed/>
                    <p:pic>
                      <p:nvPicPr>
                        <p:cNvPr id="50" name="对象 49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1412875" y="4100040"/>
                          <a:ext cx="115888" cy="23812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51" name="椭圆 50"/>
          <p:cNvSpPr/>
          <p:nvPr/>
        </p:nvSpPr>
        <p:spPr>
          <a:xfrm>
            <a:off x="1775522" y="3308690"/>
            <a:ext cx="82379" cy="82379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椭圆 51"/>
          <p:cNvSpPr/>
          <p:nvPr/>
        </p:nvSpPr>
        <p:spPr>
          <a:xfrm>
            <a:off x="4347272" y="3334090"/>
            <a:ext cx="82379" cy="82379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椭圆 52"/>
          <p:cNvSpPr/>
          <p:nvPr/>
        </p:nvSpPr>
        <p:spPr>
          <a:xfrm>
            <a:off x="7423840" y="3410466"/>
            <a:ext cx="82379" cy="82379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005023" y="4174157"/>
                <a:ext cx="39677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altLang="zh-CN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5023" y="4174157"/>
                <a:ext cx="396775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4" name="矩形 53"/>
              <p:cNvSpPr/>
              <p:nvPr/>
            </p:nvSpPr>
            <p:spPr>
              <a:xfrm>
                <a:off x="4851836" y="4176725"/>
                <a:ext cx="39677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altLang="zh-CN" dirty="0"/>
              </a:p>
            </p:txBody>
          </p:sp>
        </mc:Choice>
        <mc:Fallback xmlns="">
          <p:sp>
            <p:nvSpPr>
              <p:cNvPr id="54" name="矩形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1836" y="4176725"/>
                <a:ext cx="396775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矩形 54"/>
              <p:cNvSpPr/>
              <p:nvPr/>
            </p:nvSpPr>
            <p:spPr>
              <a:xfrm>
                <a:off x="7271235" y="4174157"/>
                <a:ext cx="39677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𝐶</m:t>
                      </m:r>
                    </m:oMath>
                  </m:oMathPara>
                </a14:m>
                <a:endParaRPr lang="en-US" altLang="zh-CN" dirty="0"/>
              </a:p>
            </p:txBody>
          </p:sp>
        </mc:Choice>
        <mc:Fallback xmlns="">
          <p:sp>
            <p:nvSpPr>
              <p:cNvPr id="55" name="矩形 5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1235" y="4174157"/>
                <a:ext cx="396775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496854" y="4125447"/>
                <a:ext cx="49398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6854" y="4125447"/>
                <a:ext cx="493981" cy="369332"/>
              </a:xfrm>
              <a:prstGeom prst="rect">
                <a:avLst/>
              </a:prstGeom>
              <a:blipFill>
                <a:blip r:embed="rId14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639409" y="4147550"/>
                <a:ext cx="49398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9409" y="4147550"/>
                <a:ext cx="493981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7895892" y="4134497"/>
                <a:ext cx="49398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5892" y="4134497"/>
                <a:ext cx="493981" cy="369332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607487" y="2600056"/>
                <a:ext cx="91422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𝑊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487" y="2600056"/>
                <a:ext cx="914225" cy="369332"/>
              </a:xfrm>
              <a:prstGeom prst="rect">
                <a:avLst/>
              </a:prstGeom>
              <a:blipFill>
                <a:blip r:embed="rId17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3473242" y="2596581"/>
                <a:ext cx="91422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𝑊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73242" y="2596581"/>
                <a:ext cx="914225" cy="369332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矩形 55"/>
              <p:cNvSpPr/>
              <p:nvPr/>
            </p:nvSpPr>
            <p:spPr>
              <a:xfrm>
                <a:off x="5869541" y="2600056"/>
                <a:ext cx="91422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𝑊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6" name="矩形 5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69541" y="2600056"/>
                <a:ext cx="914225" cy="369332"/>
              </a:xfrm>
              <a:prstGeom prst="rect">
                <a:avLst/>
              </a:prstGeom>
              <a:blipFill>
                <a:blip r:embed="rId19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5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49597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序列最小优化（</a:t>
            </a:r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MO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756859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支持向量机核方法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20585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30750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idx="1"/>
          </p:nvPr>
        </p:nvSpPr>
        <p:spPr>
          <a:xfrm>
            <a:off x="5270616" y="3041670"/>
            <a:ext cx="3179425" cy="328473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2"/>
          </p:nvPr>
        </p:nvSpPr>
        <p:spPr>
          <a:xfrm>
            <a:off x="4428196" y="2962362"/>
            <a:ext cx="636022" cy="407781"/>
          </a:xfrm>
        </p:spPr>
        <p:txBody>
          <a:bodyPr/>
          <a:lstStyle/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idx="13"/>
          </p:nvPr>
        </p:nvSpPr>
        <p:spPr>
          <a:xfrm>
            <a:off x="5270616" y="3757082"/>
            <a:ext cx="3179425" cy="328473"/>
          </a:xfrm>
        </p:spPr>
        <p:txBody>
          <a:bodyPr>
            <a:noAutofit/>
          </a:bodyPr>
          <a:lstStyle/>
          <a:p>
            <a:r>
              <a:rPr lang="zh-CN" altLang="en-US" dirty="0"/>
              <a:t>广义线性模型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idx="14"/>
          </p:nvPr>
        </p:nvSpPr>
        <p:spPr>
          <a:xfrm>
            <a:off x="4428196" y="3682236"/>
            <a:ext cx="636022" cy="407781"/>
          </a:xfrm>
        </p:spPr>
        <p:txBody>
          <a:bodyPr/>
          <a:lstStyle/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47556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Autofit/>
          </a:bodyPr>
          <a:lstStyle/>
          <a:p>
            <a:r>
              <a:rPr lang="zh-CN" altLang="en-US" dirty="0"/>
              <a:t>支持向量机</a:t>
            </a:r>
            <a:br>
              <a:rPr lang="en-US" altLang="zh-CN" dirty="0"/>
            </a:br>
            <a:r>
              <a:rPr lang="zh-CN" altLang="en-US" dirty="0"/>
              <a:t>核方法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13163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50553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可分情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应用场景中，数据往往是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不可分的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953801" y="2725233"/>
            <a:ext cx="3974486" cy="3255512"/>
            <a:chOff x="688111" y="2728487"/>
            <a:chExt cx="4485249" cy="3673879"/>
          </a:xfrm>
        </p:grpSpPr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8111" y="2728487"/>
              <a:ext cx="4485249" cy="3673879"/>
            </a:xfrm>
            <a:prstGeom prst="rect">
              <a:avLst/>
            </a:prstGeom>
          </p:spPr>
        </p:pic>
        <p:sp>
          <p:nvSpPr>
            <p:cNvPr id="15" name="椭圆 14"/>
            <p:cNvSpPr/>
            <p:nvPr/>
          </p:nvSpPr>
          <p:spPr>
            <a:xfrm>
              <a:off x="3789405" y="4258962"/>
              <a:ext cx="98854" cy="9885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2132" y="3846353"/>
            <a:ext cx="2368281" cy="1843200"/>
          </a:xfrm>
          <a:prstGeom prst="rect">
            <a:avLst/>
          </a:prstGeom>
        </p:spPr>
      </p:pic>
      <p:pic>
        <p:nvPicPr>
          <p:cNvPr id="17" name="图片 16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578760" y="1463043"/>
            <a:ext cx="2353548" cy="183240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2242775" y="5890187"/>
            <a:ext cx="1396536" cy="4271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可分情况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846027" y="3255813"/>
            <a:ext cx="1800493" cy="4271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松弛变量可解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644049" y="5665812"/>
            <a:ext cx="2204450" cy="4271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法通过松弛变量求解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609929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221022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应用场景中，数据往往是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线性不可分的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解决方案：将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向量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映射到高维空间中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𝜙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例子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2210224"/>
              </a:xfrm>
              <a:prstGeom prst="rect">
                <a:avLst/>
              </a:prstGeom>
              <a:blipFill>
                <a:blip r:embed="rId4"/>
                <a:stretch>
                  <a:fillRect l="-477" b="-16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" name="组合 18"/>
          <p:cNvGrpSpPr/>
          <p:nvPr/>
        </p:nvGrpSpPr>
        <p:grpSpPr>
          <a:xfrm>
            <a:off x="3049030" y="3917761"/>
            <a:ext cx="2910840" cy="2447787"/>
            <a:chOff x="3106695" y="2392680"/>
            <a:chExt cx="2910840" cy="2447787"/>
          </a:xfrm>
        </p:grpSpPr>
        <p:sp>
          <p:nvSpPr>
            <p:cNvPr id="20" name="任意多边形 19"/>
            <p:cNvSpPr/>
            <p:nvPr/>
          </p:nvSpPr>
          <p:spPr>
            <a:xfrm>
              <a:off x="3277757" y="2748163"/>
              <a:ext cx="2610238" cy="1298137"/>
            </a:xfrm>
            <a:custGeom>
              <a:avLst/>
              <a:gdLst>
                <a:gd name="connsiteX0" fmla="*/ 0 w 1882140"/>
                <a:gd name="connsiteY0" fmla="*/ 0 h 1104980"/>
                <a:gd name="connsiteX1" fmla="*/ 967740 w 1882140"/>
                <a:gd name="connsiteY1" fmla="*/ 1104900 h 1104980"/>
                <a:gd name="connsiteX2" fmla="*/ 1882140 w 1882140"/>
                <a:gd name="connsiteY2" fmla="*/ 45720 h 1104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2140" h="1104980">
                  <a:moveTo>
                    <a:pt x="0" y="0"/>
                  </a:moveTo>
                  <a:cubicBezTo>
                    <a:pt x="327025" y="548640"/>
                    <a:pt x="654050" y="1097280"/>
                    <a:pt x="967740" y="1104900"/>
                  </a:cubicBezTo>
                  <a:cubicBezTo>
                    <a:pt x="1281430" y="1112520"/>
                    <a:pt x="1581785" y="579120"/>
                    <a:pt x="1882140" y="4572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1" name="组合 20"/>
            <p:cNvGrpSpPr/>
            <p:nvPr/>
          </p:nvGrpSpPr>
          <p:grpSpPr>
            <a:xfrm>
              <a:off x="3106695" y="4687829"/>
              <a:ext cx="2910840" cy="152638"/>
              <a:chOff x="5181600" y="3216751"/>
              <a:chExt cx="2910840" cy="152638"/>
            </a:xfrm>
          </p:grpSpPr>
          <p:cxnSp>
            <p:nvCxnSpPr>
              <p:cNvPr id="65" name="直接箭头连接符 64"/>
              <p:cNvCxnSpPr/>
              <p:nvPr/>
            </p:nvCxnSpPr>
            <p:spPr>
              <a:xfrm>
                <a:off x="5181600" y="3293070"/>
                <a:ext cx="2910840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66" name="组合 65"/>
              <p:cNvGrpSpPr/>
              <p:nvPr/>
            </p:nvGrpSpPr>
            <p:grpSpPr>
              <a:xfrm rot="18900000">
                <a:off x="5331619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101" name="直接连接符 100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直接连接符 101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组合 66"/>
              <p:cNvGrpSpPr/>
              <p:nvPr/>
            </p:nvGrpSpPr>
            <p:grpSpPr>
              <a:xfrm rot="18900000">
                <a:off x="5510213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99" name="直接连接符 98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直接连接符 99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组合 67"/>
              <p:cNvGrpSpPr/>
              <p:nvPr/>
            </p:nvGrpSpPr>
            <p:grpSpPr>
              <a:xfrm rot="18900000">
                <a:off x="5596115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97" name="直接连接符 96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直接连接符 97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组合 68"/>
              <p:cNvGrpSpPr/>
              <p:nvPr/>
            </p:nvGrpSpPr>
            <p:grpSpPr>
              <a:xfrm rot="18900000">
                <a:off x="5841383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95" name="直接连接符 94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直接连接符 95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" name="组合 69"/>
              <p:cNvGrpSpPr/>
              <p:nvPr/>
            </p:nvGrpSpPr>
            <p:grpSpPr>
              <a:xfrm rot="18900000">
                <a:off x="5974733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93" name="直接连接符 92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接连接符 93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组合 70"/>
              <p:cNvGrpSpPr/>
              <p:nvPr/>
            </p:nvGrpSpPr>
            <p:grpSpPr>
              <a:xfrm rot="18900000">
                <a:off x="6123474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91" name="直接连接符 90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接连接符 91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组合 71"/>
              <p:cNvGrpSpPr/>
              <p:nvPr/>
            </p:nvGrpSpPr>
            <p:grpSpPr>
              <a:xfrm rot="18900000">
                <a:off x="7411731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89" name="直接连接符 88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直接连接符 89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" name="组合 72"/>
              <p:cNvGrpSpPr/>
              <p:nvPr/>
            </p:nvGrpSpPr>
            <p:grpSpPr>
              <a:xfrm rot="18900000">
                <a:off x="7542700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87" name="直接连接符 86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直接连接符 87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" name="组合 73"/>
              <p:cNvGrpSpPr/>
              <p:nvPr/>
            </p:nvGrpSpPr>
            <p:grpSpPr>
              <a:xfrm rot="18900000">
                <a:off x="7604613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85" name="直接连接符 84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直接连接符 85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组合 74"/>
              <p:cNvGrpSpPr/>
              <p:nvPr/>
            </p:nvGrpSpPr>
            <p:grpSpPr>
              <a:xfrm rot="18900000">
                <a:off x="7779604" y="3216751"/>
                <a:ext cx="150019" cy="152638"/>
                <a:chOff x="5074444" y="3017401"/>
                <a:chExt cx="150019" cy="152638"/>
              </a:xfrm>
            </p:grpSpPr>
            <p:cxnSp>
              <p:nvCxnSpPr>
                <p:cNvPr id="83" name="直接连接符 82"/>
                <p:cNvCxnSpPr/>
                <p:nvPr/>
              </p:nvCxnSpPr>
              <p:spPr>
                <a:xfrm>
                  <a:off x="5074444" y="3093720"/>
                  <a:ext cx="150019" cy="0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直接连接符 83"/>
                <p:cNvCxnSpPr/>
                <p:nvPr/>
              </p:nvCxnSpPr>
              <p:spPr>
                <a:xfrm>
                  <a:off x="5149453" y="3017401"/>
                  <a:ext cx="0" cy="152638"/>
                </a:xfrm>
                <a:prstGeom prst="line">
                  <a:avLst/>
                </a:prstGeom>
                <a:ln>
                  <a:solidFill>
                    <a:srgbClr val="FF0000"/>
                  </a:solidFill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6" name="椭圆 75"/>
              <p:cNvSpPr/>
              <p:nvPr/>
            </p:nvSpPr>
            <p:spPr>
              <a:xfrm>
                <a:off x="6305550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7" name="椭圆 76"/>
              <p:cNvSpPr/>
              <p:nvPr/>
            </p:nvSpPr>
            <p:spPr>
              <a:xfrm>
                <a:off x="6376315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椭圆 77"/>
              <p:cNvSpPr/>
              <p:nvPr/>
            </p:nvSpPr>
            <p:spPr>
              <a:xfrm>
                <a:off x="6546055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椭圆 78"/>
              <p:cNvSpPr/>
              <p:nvPr/>
            </p:nvSpPr>
            <p:spPr>
              <a:xfrm>
                <a:off x="6691759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椭圆 79"/>
              <p:cNvSpPr/>
              <p:nvPr/>
            </p:nvSpPr>
            <p:spPr>
              <a:xfrm>
                <a:off x="6956972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1" name="椭圆 80"/>
              <p:cNvSpPr/>
              <p:nvPr/>
            </p:nvSpPr>
            <p:spPr>
              <a:xfrm>
                <a:off x="6883732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椭圆 81"/>
              <p:cNvSpPr/>
              <p:nvPr/>
            </p:nvSpPr>
            <p:spPr>
              <a:xfrm>
                <a:off x="7145308" y="3231810"/>
                <a:ext cx="114300" cy="1143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22" name="直接箭头连接符 21"/>
            <p:cNvCxnSpPr/>
            <p:nvPr/>
          </p:nvCxnSpPr>
          <p:spPr>
            <a:xfrm>
              <a:off x="3106695" y="4268848"/>
              <a:ext cx="29108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grpSp>
          <p:nvGrpSpPr>
            <p:cNvPr id="23" name="组合 22"/>
            <p:cNvGrpSpPr/>
            <p:nvPr/>
          </p:nvGrpSpPr>
          <p:grpSpPr>
            <a:xfrm rot="18900000">
              <a:off x="3256714" y="2754254"/>
              <a:ext cx="150019" cy="152638"/>
              <a:chOff x="5074444" y="3017401"/>
              <a:chExt cx="150019" cy="152638"/>
            </a:xfrm>
          </p:grpSpPr>
          <p:cxnSp>
            <p:nvCxnSpPr>
              <p:cNvPr id="63" name="直接连接符 62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直接连接符 63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组合 23"/>
            <p:cNvGrpSpPr/>
            <p:nvPr/>
          </p:nvGrpSpPr>
          <p:grpSpPr>
            <a:xfrm rot="18900000">
              <a:off x="3435308" y="2995554"/>
              <a:ext cx="150019" cy="152638"/>
              <a:chOff x="5074444" y="3017401"/>
              <a:chExt cx="150019" cy="152638"/>
            </a:xfrm>
          </p:grpSpPr>
          <p:cxnSp>
            <p:nvCxnSpPr>
              <p:cNvPr id="61" name="直接连接符 60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直接连接符 61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组合 24"/>
            <p:cNvGrpSpPr/>
            <p:nvPr/>
          </p:nvGrpSpPr>
          <p:grpSpPr>
            <a:xfrm rot="18900000">
              <a:off x="3521210" y="3128905"/>
              <a:ext cx="150019" cy="152638"/>
              <a:chOff x="5074444" y="3017401"/>
              <a:chExt cx="150019" cy="152638"/>
            </a:xfrm>
          </p:grpSpPr>
          <p:cxnSp>
            <p:nvCxnSpPr>
              <p:cNvPr id="59" name="直接连接符 58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59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组合 25"/>
            <p:cNvGrpSpPr/>
            <p:nvPr/>
          </p:nvGrpSpPr>
          <p:grpSpPr>
            <a:xfrm rot="18900000">
              <a:off x="3766478" y="3430530"/>
              <a:ext cx="150019" cy="152638"/>
              <a:chOff x="5074444" y="3017401"/>
              <a:chExt cx="150019" cy="152638"/>
            </a:xfrm>
          </p:grpSpPr>
          <p:cxnSp>
            <p:nvCxnSpPr>
              <p:cNvPr id="57" name="直接连接符 56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8" name="直接连接符 57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组合 26"/>
            <p:cNvGrpSpPr/>
            <p:nvPr/>
          </p:nvGrpSpPr>
          <p:grpSpPr>
            <a:xfrm rot="18900000">
              <a:off x="3899828" y="3582929"/>
              <a:ext cx="150019" cy="152638"/>
              <a:chOff x="5074444" y="3017401"/>
              <a:chExt cx="150019" cy="152638"/>
            </a:xfrm>
          </p:grpSpPr>
          <p:cxnSp>
            <p:nvCxnSpPr>
              <p:cNvPr id="55" name="直接连接符 54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" name="直接连接符 55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组合 27"/>
            <p:cNvGrpSpPr/>
            <p:nvPr/>
          </p:nvGrpSpPr>
          <p:grpSpPr>
            <a:xfrm rot="18900000">
              <a:off x="4048569" y="3728979"/>
              <a:ext cx="150019" cy="152638"/>
              <a:chOff x="5074444" y="3017401"/>
              <a:chExt cx="150019" cy="152638"/>
            </a:xfrm>
          </p:grpSpPr>
          <p:cxnSp>
            <p:nvCxnSpPr>
              <p:cNvPr id="53" name="直接连接符 52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" name="直接连接符 53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组合 28"/>
            <p:cNvGrpSpPr/>
            <p:nvPr/>
          </p:nvGrpSpPr>
          <p:grpSpPr>
            <a:xfrm rot="18900000">
              <a:off x="5336826" y="3408304"/>
              <a:ext cx="150019" cy="152638"/>
              <a:chOff x="5074444" y="3017401"/>
              <a:chExt cx="150019" cy="152638"/>
            </a:xfrm>
          </p:grpSpPr>
          <p:cxnSp>
            <p:nvCxnSpPr>
              <p:cNvPr id="51" name="直接连接符 50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组合 29"/>
            <p:cNvGrpSpPr/>
            <p:nvPr/>
          </p:nvGrpSpPr>
          <p:grpSpPr>
            <a:xfrm rot="18900000">
              <a:off x="5467795" y="3240029"/>
              <a:ext cx="150019" cy="152638"/>
              <a:chOff x="5074444" y="3017401"/>
              <a:chExt cx="150019" cy="152638"/>
            </a:xfrm>
          </p:grpSpPr>
          <p:cxnSp>
            <p:nvCxnSpPr>
              <p:cNvPr id="49" name="直接连接符 48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0" name="直接连接符 49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组合 30"/>
            <p:cNvGrpSpPr/>
            <p:nvPr/>
          </p:nvGrpSpPr>
          <p:grpSpPr>
            <a:xfrm rot="18900000">
              <a:off x="5529708" y="3154304"/>
              <a:ext cx="150019" cy="152638"/>
              <a:chOff x="5074444" y="3017401"/>
              <a:chExt cx="150019" cy="152638"/>
            </a:xfrm>
          </p:grpSpPr>
          <p:cxnSp>
            <p:nvCxnSpPr>
              <p:cNvPr id="47" name="直接连接符 46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组合 31"/>
            <p:cNvGrpSpPr/>
            <p:nvPr/>
          </p:nvGrpSpPr>
          <p:grpSpPr>
            <a:xfrm rot="18900000">
              <a:off x="5704698" y="2893955"/>
              <a:ext cx="150019" cy="152638"/>
              <a:chOff x="5074444" y="3017401"/>
              <a:chExt cx="150019" cy="152638"/>
            </a:xfrm>
          </p:grpSpPr>
          <p:cxnSp>
            <p:nvCxnSpPr>
              <p:cNvPr id="45" name="直接连接符 44"/>
              <p:cNvCxnSpPr/>
              <p:nvPr/>
            </p:nvCxnSpPr>
            <p:spPr>
              <a:xfrm>
                <a:off x="5074444" y="3093720"/>
                <a:ext cx="150019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/>
              <p:nvPr/>
            </p:nvCxnSpPr>
            <p:spPr>
              <a:xfrm>
                <a:off x="5149453" y="3017401"/>
                <a:ext cx="0" cy="15263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3" name="椭圆 32"/>
            <p:cNvSpPr/>
            <p:nvPr/>
          </p:nvSpPr>
          <p:spPr>
            <a:xfrm>
              <a:off x="4230645" y="3871038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4301410" y="3918663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4471150" y="3978988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4616854" y="3991688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>
              <a:off x="4882067" y="3893263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4808827" y="3934538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5070403" y="3753563"/>
              <a:ext cx="114300" cy="1143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0" name="直接箭头连接符 39"/>
            <p:cNvCxnSpPr/>
            <p:nvPr/>
          </p:nvCxnSpPr>
          <p:spPr>
            <a:xfrm flipV="1">
              <a:off x="3106695" y="2392680"/>
              <a:ext cx="0" cy="187616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 flipV="1">
              <a:off x="3787521" y="3537663"/>
              <a:ext cx="1870237" cy="429570"/>
            </a:xfrm>
            <a:prstGeom prst="line">
              <a:avLst/>
            </a:prstGeom>
            <a:ln w="28575">
              <a:prstDash val="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512805" y="3900863"/>
                <a:ext cx="496995" cy="5078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2805" y="3900863"/>
                <a:ext cx="496995" cy="5078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5969481" y="5571381"/>
                <a:ext cx="3792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9481" y="5571381"/>
                <a:ext cx="379206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5969481" y="6076555"/>
                <a:ext cx="3792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9481" y="6076555"/>
                <a:ext cx="379206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50553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可分情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C2BC3659-947E-4778-8471-071400442822}"/>
                  </a:ext>
                </a:extLst>
              </p:cNvPr>
              <p:cNvSpPr/>
              <p:nvPr/>
            </p:nvSpPr>
            <p:spPr>
              <a:xfrm>
                <a:off x="911217" y="4470133"/>
                <a:ext cx="1691745" cy="5078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𝜙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 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C2BC3659-947E-4778-8471-07140044282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217" y="4470133"/>
                <a:ext cx="1691745" cy="50783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6601973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8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683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广义地，将特征向量映射到不同空间中</a:t>
            </a: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7162" y="2595846"/>
            <a:ext cx="7067074" cy="33213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4386304" y="3906605"/>
                <a:ext cx="728789" cy="5078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𝜙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6304" y="3906605"/>
                <a:ext cx="728789" cy="5078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50553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可分情况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9497836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9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414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特征映射函数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础的支持向量机只着眼于内积计算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276267"/>
                <a:ext cx="7660046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特征映射函数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𝜙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20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276267"/>
                <a:ext cx="7660046" cy="716630"/>
              </a:xfrm>
              <a:prstGeom prst="rect">
                <a:avLst/>
              </a:prstGeom>
              <a:blipFill>
                <a:blip r:embed="rId4"/>
                <a:stretch>
                  <a:fillRect l="-477" b="-16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996177"/>
            <a:ext cx="7660046" cy="7146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核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364945" y="2465254"/>
                <a:ext cx="4771506" cy="7923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sSup>
                        <m:sSupPr>
                          <m:ctrlPr>
                            <a:rPr lang="en-US" altLang="zh-CN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  <m:sup>
                          <m:r>
                            <a:rPr lang="en-US" altLang="zh-CN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4945" y="2465254"/>
                <a:ext cx="4771506" cy="79239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矩形 15"/>
              <p:cNvSpPr/>
              <p:nvPr/>
            </p:nvSpPr>
            <p:spPr>
              <a:xfrm>
                <a:off x="2443942" y="4011514"/>
                <a:ext cx="4771506" cy="7923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en-US" altLang="zh-CN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r>
                        <a:rPr lang="en-US" altLang="zh-CN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6" name="矩形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3942" y="4011514"/>
                <a:ext cx="4771506" cy="79239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729732" y="5545918"/>
                <a:ext cx="4041931" cy="464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en-US" altLang="zh-CN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US" altLang="zh-CN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accent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solidFill>
                                                <a:schemeClr val="accent2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solidFill>
                                                <a:schemeClr val="accent2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𝜙</m:t>
                          </m:r>
                          <m:r>
                            <a:rPr lang="en-US" altLang="zh-CN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r>
                        <a:rPr lang="en-US" altLang="zh-CN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9732" y="5545918"/>
                <a:ext cx="4041931" cy="464999"/>
              </a:xfrm>
              <a:prstGeom prst="rect">
                <a:avLst/>
              </a:prstGeom>
              <a:blipFill>
                <a:blip r:embed="rId7"/>
                <a:stretch>
                  <a:fillRect b="-78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18020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边界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31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可分的情形下，决策边界可以是多样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3501083" y="2614371"/>
            <a:ext cx="1373014" cy="3097427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H="1">
            <a:off x="3893794" y="2833816"/>
            <a:ext cx="779152" cy="271024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 flipH="1">
            <a:off x="4042077" y="2833816"/>
            <a:ext cx="969360" cy="27102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 flipH="1">
            <a:off x="3703955" y="2702011"/>
            <a:ext cx="373777" cy="284205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椭圆 35"/>
          <p:cNvSpPr/>
          <p:nvPr/>
        </p:nvSpPr>
        <p:spPr>
          <a:xfrm>
            <a:off x="3089189" y="2895144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椭圆 36"/>
          <p:cNvSpPr/>
          <p:nvPr/>
        </p:nvSpPr>
        <p:spPr>
          <a:xfrm>
            <a:off x="2734962" y="3200217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椭圆 37"/>
          <p:cNvSpPr/>
          <p:nvPr/>
        </p:nvSpPr>
        <p:spPr>
          <a:xfrm>
            <a:off x="2405448" y="3838101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椭圆 38"/>
          <p:cNvSpPr/>
          <p:nvPr/>
        </p:nvSpPr>
        <p:spPr>
          <a:xfrm>
            <a:off x="2640918" y="4472255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椭圆 39"/>
          <p:cNvSpPr/>
          <p:nvPr/>
        </p:nvSpPr>
        <p:spPr>
          <a:xfrm>
            <a:off x="3382678" y="4443332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椭圆 40"/>
          <p:cNvSpPr/>
          <p:nvPr/>
        </p:nvSpPr>
        <p:spPr>
          <a:xfrm>
            <a:off x="3383050" y="3667783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/>
          <p:cNvSpPr/>
          <p:nvPr/>
        </p:nvSpPr>
        <p:spPr>
          <a:xfrm>
            <a:off x="2980744" y="4077364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3161304" y="4802447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椭圆 43"/>
          <p:cNvSpPr/>
          <p:nvPr/>
        </p:nvSpPr>
        <p:spPr>
          <a:xfrm>
            <a:off x="5022380" y="3022815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/>
          <p:cNvSpPr/>
          <p:nvPr/>
        </p:nvSpPr>
        <p:spPr>
          <a:xfrm>
            <a:off x="4610487" y="3566617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椭圆 45"/>
          <p:cNvSpPr/>
          <p:nvPr/>
        </p:nvSpPr>
        <p:spPr>
          <a:xfrm>
            <a:off x="5285537" y="3364836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椭圆 46"/>
          <p:cNvSpPr/>
          <p:nvPr/>
        </p:nvSpPr>
        <p:spPr>
          <a:xfrm>
            <a:off x="5285537" y="4718681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椭圆 47"/>
          <p:cNvSpPr/>
          <p:nvPr/>
        </p:nvSpPr>
        <p:spPr>
          <a:xfrm>
            <a:off x="5756960" y="3812657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椭圆 48"/>
          <p:cNvSpPr/>
          <p:nvPr/>
        </p:nvSpPr>
        <p:spPr>
          <a:xfrm>
            <a:off x="5756959" y="3302732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椭圆 49"/>
          <p:cNvSpPr/>
          <p:nvPr/>
        </p:nvSpPr>
        <p:spPr>
          <a:xfrm>
            <a:off x="5088813" y="3886364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椭圆 50"/>
          <p:cNvSpPr/>
          <p:nvPr/>
        </p:nvSpPr>
        <p:spPr>
          <a:xfrm>
            <a:off x="4915288" y="4258595"/>
            <a:ext cx="560173" cy="56017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2" name="组合 51"/>
          <p:cNvGrpSpPr/>
          <p:nvPr/>
        </p:nvGrpSpPr>
        <p:grpSpPr>
          <a:xfrm>
            <a:off x="2594919" y="3084615"/>
            <a:ext cx="3560289" cy="2095386"/>
            <a:chOff x="2594919" y="3084615"/>
            <a:chExt cx="3560289" cy="2095386"/>
          </a:xfrm>
        </p:grpSpPr>
        <p:sp>
          <p:nvSpPr>
            <p:cNvPr id="53" name="十字形 52"/>
            <p:cNvSpPr/>
            <p:nvPr/>
          </p:nvSpPr>
          <p:spPr>
            <a:xfrm flipH="1">
              <a:off x="2924433" y="338575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十字形 53"/>
            <p:cNvSpPr/>
            <p:nvPr/>
          </p:nvSpPr>
          <p:spPr>
            <a:xfrm flipH="1">
              <a:off x="3575222" y="384670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十字形 54"/>
            <p:cNvSpPr/>
            <p:nvPr/>
          </p:nvSpPr>
          <p:spPr>
            <a:xfrm flipH="1">
              <a:off x="3171568" y="426683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十字形 55"/>
            <p:cNvSpPr/>
            <p:nvPr/>
          </p:nvSpPr>
          <p:spPr>
            <a:xfrm flipH="1">
              <a:off x="3575222" y="4629300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十字形 56"/>
            <p:cNvSpPr/>
            <p:nvPr/>
          </p:nvSpPr>
          <p:spPr>
            <a:xfrm flipH="1">
              <a:off x="2594919" y="402757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十字形 57"/>
            <p:cNvSpPr/>
            <p:nvPr/>
          </p:nvSpPr>
          <p:spPr>
            <a:xfrm flipH="1">
              <a:off x="2833817" y="4661521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十字形 58"/>
            <p:cNvSpPr/>
            <p:nvPr/>
          </p:nvSpPr>
          <p:spPr>
            <a:xfrm flipH="1">
              <a:off x="3352800" y="4998769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矩形 59"/>
            <p:cNvSpPr/>
            <p:nvPr/>
          </p:nvSpPr>
          <p:spPr>
            <a:xfrm>
              <a:off x="4794422" y="382384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矩形 60"/>
            <p:cNvSpPr/>
            <p:nvPr/>
          </p:nvSpPr>
          <p:spPr>
            <a:xfrm>
              <a:off x="5268097" y="416308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5103340" y="4525550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矩形 62"/>
            <p:cNvSpPr/>
            <p:nvPr/>
          </p:nvSpPr>
          <p:spPr>
            <a:xfrm>
              <a:off x="5457568" y="497590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矩形 63"/>
            <p:cNvSpPr/>
            <p:nvPr/>
          </p:nvSpPr>
          <p:spPr>
            <a:xfrm>
              <a:off x="5934074" y="356698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5949262" y="407246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矩形 65"/>
            <p:cNvSpPr/>
            <p:nvPr/>
          </p:nvSpPr>
          <p:spPr>
            <a:xfrm>
              <a:off x="5457568" y="362206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矩形 66"/>
            <p:cNvSpPr/>
            <p:nvPr/>
          </p:nvSpPr>
          <p:spPr>
            <a:xfrm>
              <a:off x="5206313" y="327607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十字形 67"/>
            <p:cNvSpPr/>
            <p:nvPr/>
          </p:nvSpPr>
          <p:spPr>
            <a:xfrm flipH="1">
              <a:off x="3278660" y="308461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69" name="直接连接符 68"/>
          <p:cNvCxnSpPr/>
          <p:nvPr/>
        </p:nvCxnSpPr>
        <p:spPr>
          <a:xfrm>
            <a:off x="4238400" y="2570205"/>
            <a:ext cx="0" cy="315509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607177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考虑数据噪声，可以去除一些划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788080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0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11853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函数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597001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特征映射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2902194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其对应核函数为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791406"/>
                <a:ext cx="8439335" cy="179859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多数情况下，可以直接定义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𝐾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e>
                    </m:d>
                    <m:r>
                      <m:rPr>
                        <m:nor/>
                      </m:rPr>
                      <a:rPr lang="zh-CN" altLang="en-US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从而不需要显式定义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𝜙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假定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</m:d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en-US" altLang="zh-CN" dirty="0"/>
                  <a:t>,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791406"/>
                <a:ext cx="8439335" cy="1798590"/>
              </a:xfrm>
              <a:prstGeom prst="rect">
                <a:avLst/>
              </a:prstGeom>
              <a:blipFill>
                <a:blip r:embed="rId4"/>
                <a:stretch>
                  <a:fillRect l="-4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3318476" y="5898011"/>
                <a:ext cx="4041931" cy="5706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en-US" altLang="zh-CN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US" altLang="zh-CN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  <m:sup>
                                  <m:r>
                                    <a:rPr lang="en-US" altLang="zh-CN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18476" y="5898011"/>
                <a:ext cx="4041931" cy="57060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4022904" y="2269343"/>
                <a:ext cx="1455590" cy="7788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𝜙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p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p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p>
                                </m:sSup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2904" y="2269343"/>
                <a:ext cx="1455590" cy="77886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199663" y="3492964"/>
                <a:ext cx="4572000" cy="464999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99663" y="3492964"/>
                <a:ext cx="4572000" cy="464999"/>
              </a:xfrm>
              <a:prstGeom prst="rect">
                <a:avLst/>
              </a:prstGeom>
              <a:blipFill>
                <a:blip r:embed="rId7"/>
                <a:stretch>
                  <a:fillRect b="-78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4102299" y="4030283"/>
                <a:ext cx="3585853" cy="4071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02299" y="4030283"/>
                <a:ext cx="3585853" cy="40716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1" y="4376504"/>
            <a:ext cx="3086920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技巧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ernel Trick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635122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1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2561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和预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8"/>
                <a:ext cx="7660046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核函数，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通过序列最小优化算法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SMO)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求得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8"/>
                <a:ext cx="7660046" cy="716630"/>
              </a:xfrm>
              <a:prstGeom prst="rect">
                <a:avLst/>
              </a:prstGeom>
              <a:blipFill>
                <a:blip r:embed="rId4"/>
                <a:stretch>
                  <a:fillRect l="-477" b="-8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矩形 15"/>
              <p:cNvSpPr/>
              <p:nvPr/>
            </p:nvSpPr>
            <p:spPr>
              <a:xfrm>
                <a:off x="2364946" y="2355550"/>
                <a:ext cx="4771506" cy="7923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zh-CN" altLang="en-US" sz="16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600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nary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>
                        <m:sSub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sz="16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en-US" altLang="zh-CN" sz="16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zh-CN" altLang="en-US" sz="16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p>
                            <m:sSupPr>
                              <m:ctrlPr>
                                <a:rPr lang="zh-CN" altLang="en-US" sz="16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sz="1600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6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sz="16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6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p>
                      <m:r>
                        <a:rPr lang="en-US" altLang="zh-CN" sz="16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6" name="矩形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4946" y="2355550"/>
                <a:ext cx="4771506" cy="792396"/>
              </a:xfrm>
              <a:prstGeom prst="rect">
                <a:avLst/>
              </a:prstGeom>
              <a:blipFill>
                <a:blip r:embed="rId5"/>
                <a:stretch>
                  <a:fillRect t="-98413" b="-1492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147946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求解得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𝛼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后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𝑏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进行求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47946"/>
                <a:ext cx="7660046" cy="594550"/>
              </a:xfrm>
              <a:prstGeom prst="rect">
                <a:avLst/>
              </a:prstGeom>
              <a:blipFill>
                <a:blip r:embed="rId6"/>
                <a:stretch>
                  <a:fillRect l="-477" b="-30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673306" y="3715551"/>
                <a:ext cx="2496516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306" y="3715551"/>
                <a:ext cx="2496516" cy="84856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731497" y="4578737"/>
                <a:ext cx="5611091" cy="7057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=−1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𝜙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𝜙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497" y="4578737"/>
                <a:ext cx="5611091" cy="70570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996464" y="5373923"/>
                <a:ext cx="7783926" cy="7057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−1</m:t>
                              </m:r>
                            </m:sub>
                          </m:sSub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𝐾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𝐾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6464" y="5373923"/>
                <a:ext cx="7783926" cy="705706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8926" y="3742496"/>
                <a:ext cx="4079930" cy="92055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57200" lvl="1" indent="0">
                  <a:lnSpc>
                    <a:spcPct val="200000"/>
                  </a:lnSpc>
                  <a:buNone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需要被求解</a:t>
                </a:r>
                <a:endParaRPr lang="en-US" altLang="zh-CN" dirty="0">
                  <a:solidFill>
                    <a:schemeClr val="accent4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8926" y="3742496"/>
                <a:ext cx="4079930" cy="92055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1066293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62561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和预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753690"/>
                <a:ext cx="8137922" cy="104735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求解得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𝑏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后，每个样例的预测数值（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：函数间隔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753690"/>
                <a:ext cx="8137922" cy="104735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200530" y="2458722"/>
                <a:ext cx="5100337" cy="9033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𝛼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𝜙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d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0530" y="2458722"/>
                <a:ext cx="5100337" cy="90338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3495477" y="3389649"/>
                <a:ext cx="2983702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5477" y="3389649"/>
                <a:ext cx="2983702" cy="84856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3" y="4350489"/>
            <a:ext cx="7660046" cy="5945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如预测数值为正，样例被预测为正例，反之亦然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圆角矩形 2"/>
              <p:cNvSpPr/>
              <p:nvPr/>
            </p:nvSpPr>
            <p:spPr>
              <a:xfrm>
                <a:off x="1647413" y="5260117"/>
                <a:ext cx="5939930" cy="527539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意：整个过程没有真正引入特征映射函数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𝜙</m:t>
                    </m:r>
                    <m:d>
                      <m:dPr>
                        <m:ctrlP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⋅</m:t>
                        </m:r>
                      </m:e>
                    </m:d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计算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" name="圆角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7413" y="5260117"/>
                <a:ext cx="5939930" cy="527539"/>
              </a:xfrm>
              <a:prstGeom prst="roundRect">
                <a:avLst/>
              </a:prstGeom>
              <a:blipFill>
                <a:blip r:embed="rId7"/>
                <a:stretch>
                  <a:fillRect b="-1124"/>
                </a:stretch>
              </a:blipFill>
              <a:ln w="19050">
                <a:solidFill>
                  <a:schemeClr val="accent1"/>
                </a:solidFill>
                <a:prstDash val="dash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4370497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定</a:t>
                </a:r>
                <a14:m>
                  <m:oMath xmlns:m="http://schemas.openxmlformats.org/officeDocument/2006/math">
                    <m:r>
                      <a:rPr lang="en-US" altLang="zh-CN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</m:d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594550"/>
              </a:xfrm>
              <a:prstGeom prst="rect">
                <a:avLst/>
              </a:prstGeom>
              <a:blipFill>
                <a:blip r:embed="rId4"/>
                <a:stretch>
                  <a:fillRect l="-477" b="-82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5961537" y="2820017"/>
                <a:ext cx="1653593" cy="244951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1537" y="2820017"/>
                <a:ext cx="1653593" cy="244951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304597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根据核函数反算映射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810610" y="2310889"/>
                <a:ext cx="2957668" cy="5706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p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e>
                                      </m:d>
                                    </m:sup>
                                  </m:sSup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0610" y="2310889"/>
                <a:ext cx="2957668" cy="57060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2074847" y="2840071"/>
                <a:ext cx="3128920" cy="8485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bSup>
                        </m:e>
                      </m:nary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bSup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bSup>
                        </m:e>
                      </m:nary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bSup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74847" y="2840071"/>
                <a:ext cx="3128920" cy="84850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2100982" y="3655321"/>
                <a:ext cx="2765244" cy="84850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nary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bSup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bSup>
                      <m:sSubSup>
                        <m:sSub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00982" y="3655321"/>
                <a:ext cx="2765244" cy="84850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2109295" y="4454087"/>
                <a:ext cx="2884059" cy="8697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bSup>
                              <m:sSubSup>
                                <m:sSub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d>
                        </m:e>
                      </m:nary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bSup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bSup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09295" y="4454087"/>
                <a:ext cx="2884059" cy="869725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5399415" y="3854692"/>
                <a:ext cx="44916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</a:rPr>
                        <m:t>⇒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9415" y="3854692"/>
                <a:ext cx="449161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圆角矩形 14"/>
              <p:cNvSpPr/>
              <p:nvPr/>
            </p:nvSpPr>
            <p:spPr>
              <a:xfrm>
                <a:off x="1745251" y="5474753"/>
                <a:ext cx="5308692" cy="924761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意：计算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𝜙</m:t>
                    </m:r>
                    <m:r>
                      <a:rPr lang="zh-CN" altLang="en-US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𝑥</m:t>
                    </m:r>
                    <m:r>
                      <a:rPr lang="zh-CN" altLang="en-US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需要</a:t>
                </a:r>
                <a14:m>
                  <m:oMath xmlns:m="http://schemas.openxmlformats.org/officeDocument/2006/math">
                    <m:d>
                      <m:dPr>
                        <m:begChr m:val=""/>
                        <m:ctrlP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  <m:r>
                          <a:rPr lang="zh-CN" altLang="en-US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p>
                            <m:r>
                              <a:rPr lang="en-US" altLang="zh-CN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时间复杂度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然而计算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𝐾</m:t>
                    </m:r>
                    <m:d>
                      <m:dPr>
                        <m:ctrlP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zh-CN" alt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zh-CN" alt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e>
                    </m:d>
                    <m:r>
                      <m:rPr>
                        <m:nor/>
                      </m:rPr>
                      <a:rPr lang="zh-CN" altLang="en-US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仅仅需要</a:t>
                </a:r>
                <a14:m>
                  <m:oMath xmlns:m="http://schemas.openxmlformats.org/officeDocument/2006/math">
                    <m:d>
                      <m:dPr>
                        <m:begChr m:val=""/>
                        <m:ctrlP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𝑂</m:t>
                        </m:r>
                        <m:r>
                          <a:rPr lang="zh-CN" altLang="en-US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时间复杂度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圆角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251" y="5474753"/>
                <a:ext cx="5308692" cy="924761"/>
              </a:xfrm>
              <a:prstGeom prst="roundRect">
                <a:avLst/>
              </a:prstGeom>
              <a:blipFill>
                <a:blip r:embed="rId11"/>
                <a:stretch>
                  <a:fillRect t="-57419" b="-72903"/>
                </a:stretch>
              </a:blipFill>
              <a:ln w="19050">
                <a:solidFill>
                  <a:schemeClr val="accent1"/>
                </a:solidFill>
                <a:prstDash val="dash"/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093333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052473" cy="194421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观上对于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𝑧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两个样例，如果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𝜙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𝜙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𝑧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足够接近，我们希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更大，反之亦然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052473" cy="1944216"/>
              </a:xfrm>
              <a:prstGeom prst="rect">
                <a:avLst/>
              </a:prstGeom>
              <a:blipFill>
                <a:blip r:embed="rId2"/>
                <a:stretch>
                  <a:fillRect l="-4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3341663"/>
            <a:ext cx="7660046" cy="72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高斯核函数（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十分常用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59853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相似性度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046465" y="2455688"/>
                <a:ext cx="4572000" cy="369332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46465" y="2455688"/>
                <a:ext cx="4572000" cy="369332"/>
              </a:xfrm>
              <a:prstGeom prst="rect">
                <a:avLst/>
              </a:prstGeom>
              <a:blipFill>
                <a:blip r:embed="rId5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840550" y="4015371"/>
                <a:ext cx="2983830" cy="720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exp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‖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</m:e>
                                <m:sup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0550" y="4015371"/>
                <a:ext cx="2983830" cy="72032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4791062"/>
            <a:ext cx="7660046" cy="1449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也被称为径向基函数（</a:t>
            </a:r>
            <a:r>
              <a:rPr lang="en-US" altLang="zh-CN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BF</a:t>
            </a: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核</a:t>
            </a:r>
            <a:endParaRPr lang="en-US" altLang="zh-CN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200000"/>
              </a:lnSpc>
            </a:pPr>
            <a:r>
              <a:rPr lang="zh-CN" altLang="en-US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那么，该核函数的特征映射函数是什么？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98F23E-FDC3-49FE-9168-9346A2785766}"/>
              </a:ext>
            </a:extLst>
          </p:cNvPr>
          <p:cNvSpPr/>
          <p:nvPr/>
        </p:nvSpPr>
        <p:spPr>
          <a:xfrm>
            <a:off x="458698" y="6253713"/>
            <a:ext cx="38278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hlinkClick r:id="rId7"/>
              </a:rPr>
              <a:t>知乎回答：</a:t>
            </a:r>
            <a:r>
              <a:rPr lang="en-US" altLang="zh-CN" sz="1200" dirty="0">
                <a:hlinkClick r:id="rId7"/>
              </a:rPr>
              <a:t>https://www.zhihu.com/question/35602879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45402162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8"/>
                <a:ext cx="8456502" cy="181737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有限样例集合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{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e>
                        </m:d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…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对应的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核矩阵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begChr m:val="{"/>
                            <m:endChr m:val="}"/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𝐾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d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核矩阵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𝐾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必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是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称矩阵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由于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向量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𝜙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第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维坐标值，那么对于任何向量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𝑧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𝑚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8"/>
                <a:ext cx="8456502" cy="1817373"/>
              </a:xfrm>
              <a:prstGeom prst="rect">
                <a:avLst/>
              </a:prstGeom>
              <a:blipFill>
                <a:blip r:embed="rId4"/>
                <a:stretch>
                  <a:fillRect l="-432" b="-335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11853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矩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169072" y="3103166"/>
                <a:ext cx="7061805" cy="4294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𝜙</m:t>
                      </m:r>
                      <m:sSup>
                        <m:sSup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zh-CN" alt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600" i="1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zh-CN" alt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sz="1600">
                              <a:latin typeface="Cambria Math" panose="02040503050406030204" pitchFamily="18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16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69072" y="3103166"/>
                <a:ext cx="7061805" cy="429413"/>
              </a:xfrm>
              <a:prstGeom prst="rect">
                <a:avLst/>
              </a:prstGeom>
              <a:blipFill>
                <a:blip r:embed="rId5"/>
                <a:stretch>
                  <a:fillRect b="-57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组合 20"/>
          <p:cNvGrpSpPr/>
          <p:nvPr/>
        </p:nvGrpSpPr>
        <p:grpSpPr>
          <a:xfrm>
            <a:off x="1061712" y="4153018"/>
            <a:ext cx="7276527" cy="1836510"/>
            <a:chOff x="950195" y="4521379"/>
            <a:chExt cx="7276527" cy="183651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矩形 10"/>
                <p:cNvSpPr/>
                <p:nvPr/>
              </p:nvSpPr>
              <p:spPr>
                <a:xfrm>
                  <a:off x="1077319" y="4521379"/>
                  <a:ext cx="2279983" cy="71769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𝐾𝑧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nary>
                              <m:naryPr>
                                <m:chr m:val="∑"/>
                                <m:limLoc m:val="undOvr"/>
                                <m:grow m:val="on"/>
                                <m:supHide m:val="on"/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1" name="矩形 10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7319" y="4521379"/>
                  <a:ext cx="2279983" cy="717697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矩形 11"/>
                <p:cNvSpPr/>
                <p:nvPr/>
              </p:nvSpPr>
              <p:spPr>
                <a:xfrm>
                  <a:off x="950195" y="5084406"/>
                  <a:ext cx="7276527" cy="71769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smtClean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𝜙</m:t>
                        </m:r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p>
                                    <m:d>
                                      <m:dPr>
                                        <m:ctrlPr>
                                          <a:rPr lang="zh-CN" altLang="en-US" sz="16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sz="1600" i="1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e>
                                    </m:d>
                                  </m:sup>
                                </m:sSup>
                              </m:e>
                            </m:d>
                          </m:e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𝜙</m:t>
                        </m:r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e>
                                </m:d>
                              </m:sup>
                            </m:sSup>
                          </m:e>
                        </m:d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/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</m:e>
                        </m:nary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d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𝜙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e>
                                </m:d>
                              </m:sup>
                            </m:sSup>
                          </m:e>
                        </m:d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2" name="矩形 1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0195" y="5084406"/>
                  <a:ext cx="7276527" cy="717697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矩形 14"/>
                <p:cNvSpPr/>
                <p:nvPr/>
              </p:nvSpPr>
              <p:spPr>
                <a:xfrm>
                  <a:off x="974688" y="5640192"/>
                  <a:ext cx="7082444" cy="71769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zh-CN" altLang="en-US" sz="1600" smtClean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nary>
                              <m:naryPr>
                                <m:chr m:val="∑"/>
                                <m:limLoc m:val="undOvr"/>
                                <m:grow m:val="on"/>
                                <m:supHide m:val="on"/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/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nary>
                            <m:nary>
                              <m:naryPr>
                                <m:chr m:val="∑"/>
                                <m:limLoc m:val="undOvr"/>
                                <m:grow m:val="on"/>
                                <m:supHide m:val="on"/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𝜙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d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𝜙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e>
                                </m:d>
                              </m:sup>
                            </m:sSup>
                          </m:e>
                        </m:d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supHide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/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nary>
                        <m:sSup>
                          <m:sSupPr>
                            <m:ctrlPr>
                              <a:rPr lang="en-US" altLang="zh-CN" sz="16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nary>
                              <m:naryPr>
                                <m:chr m:val="∑"/>
                                <m:limLoc m:val="undOvr"/>
                                <m:grow m:val="on"/>
                                <m:supHide m:val="on"/>
                                <m:ctrlP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zh-CN" altLang="en-US" sz="1600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sz="1600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𝑧</m:t>
                                    </m:r>
                                  </m:e>
                                  <m:sub>
                                    <m:r>
                                      <a:rPr lang="zh-CN" altLang="en-US" sz="1600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nary>
                            <m:sSub>
                              <m:sSubPr>
                                <m:ctrlP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600" i="1">
                                    <a:solidFill>
                                      <a:schemeClr val="accent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zh-CN" altLang="en-US" sz="1600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sz="1600" i="1">
                                        <a:solidFill>
                                          <a:schemeClr val="accent2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p>
                                    <m:d>
                                      <m:dPr>
                                        <m:ctrlPr>
                                          <a:rPr lang="zh-CN" altLang="en-US" sz="1600" i="1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sz="1600" i="1">
                                            <a:solidFill>
                                              <a:schemeClr val="accent2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e>
                                    </m:d>
                                  </m:sup>
                                </m:sSup>
                              </m:e>
                            </m:d>
                            <m:r>
                              <a:rPr lang="en-US" altLang="zh-CN" sz="1600" i="1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US" altLang="zh-CN" sz="16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  <m:sup>
                            <m:r>
                              <a:rPr lang="en-US" altLang="zh-CN" sz="1600" b="0" i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≥0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5" name="矩形 1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74688" y="5640192"/>
                  <a:ext cx="7082444" cy="717697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5870961"/>
                <a:ext cx="7660046" cy="73900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此，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半正定矩阵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870961"/>
                <a:ext cx="7660046" cy="739006"/>
              </a:xfrm>
              <a:prstGeom prst="rect">
                <a:avLst/>
              </a:prstGeom>
              <a:blipFill>
                <a:blip r:embed="rId9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3768589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6887" y="2228954"/>
                <a:ext cx="7660046" cy="441708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ercer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↦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ℝ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如果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一个有效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ercer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核，对于任意集合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{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e>
                        </m:d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</a:rPr>
                      <m:t>,…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</a:rPr>
                      <m:t>}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&lt;∞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对应的核矩阵为对称半正定矩阵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有效核举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BF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核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项式核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余弦相似度核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solidFill>
                    <a:schemeClr val="accent4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6887" y="2228954"/>
                <a:ext cx="7660046" cy="4417088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矩形 21"/>
              <p:cNvSpPr/>
              <p:nvPr/>
            </p:nvSpPr>
            <p:spPr>
              <a:xfrm>
                <a:off x="3295847" y="4226556"/>
                <a:ext cx="2983830" cy="720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exp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‖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‖</m:t>
                                  </m:r>
                                </m:e>
                                <m:sup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2" name="矩形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5847" y="4226556"/>
                <a:ext cx="2983830" cy="72032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/>
              <p:cNvSpPr/>
              <p:nvPr/>
            </p:nvSpPr>
            <p:spPr>
              <a:xfrm>
                <a:off x="3295847" y="5045865"/>
                <a:ext cx="1929503" cy="3742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d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3" name="矩形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5847" y="5045865"/>
                <a:ext cx="1929503" cy="374270"/>
              </a:xfrm>
              <a:prstGeom prst="rect">
                <a:avLst/>
              </a:prstGeom>
              <a:blipFill>
                <a:blip r:embed="rId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矩形 23"/>
              <p:cNvSpPr/>
              <p:nvPr/>
            </p:nvSpPr>
            <p:spPr>
              <a:xfrm>
                <a:off x="3295847" y="5519119"/>
                <a:ext cx="2147832" cy="68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𝐾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𝑧</m:t>
                          </m:r>
                        </m:num>
                        <m:den>
                          <m:d>
                            <m:dPr>
                              <m:begChr m:val="‖"/>
                              <m:endChr m:val="‖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·</m:t>
                          </m:r>
                          <m:d>
                            <m:dPr>
                              <m:begChr m:val="‖"/>
                              <m:endChr m:val="‖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4" name="矩形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5847" y="5519119"/>
                <a:ext cx="2147832" cy="68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图片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100" y="1229216"/>
            <a:ext cx="1029265" cy="1260561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5606658" y="1397831"/>
            <a:ext cx="170258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ames Mercer</a:t>
            </a:r>
          </a:p>
          <a:p>
            <a:pPr algn="r"/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英国数学家</a:t>
            </a:r>
            <a:endParaRPr lang="en-US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algn="r"/>
            <a:r>
              <a:rPr 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883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1932</a:t>
            </a:r>
            <a:endParaRPr lang="en-US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12685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有效核</a:t>
            </a:r>
          </a:p>
        </p:txBody>
      </p:sp>
    </p:spTree>
    <p:extLst>
      <p:ext uri="{BB962C8B-B14F-4D97-AF65-F5344CB8AC3E}">
        <p14:creationId xmlns:p14="http://schemas.microsoft.com/office/powerpoint/2010/main" val="347092931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支持向量机核方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75861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igmoid</a:t>
            </a:r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3182803" y="2276386"/>
                <a:ext cx="313579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𝐾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m:rPr>
                          <m:lit/>
                        </m:rP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</a:rPr>
                        <m:t>tanh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𝛼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82803" y="2276386"/>
                <a:ext cx="3135792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4" y="4063862"/>
            <a:ext cx="7660046" cy="16433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igmoid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作为激活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igmoid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核的支持向量机相似于一个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层的感知机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但二层感知机还可以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659567" y="3022936"/>
                <a:ext cx="2182264" cy="66370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anh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p>
                          </m:sSup>
                        </m:num>
                        <m:den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e</m:t>
                              </m:r>
                            </m:e>
                            <m:sup>
                              <m:r>
                                <a:rPr lang="en-US" altLang="zh-CN" b="0" i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9567" y="3022936"/>
                <a:ext cx="2182264" cy="6637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页脚占位符 2">
            <a:extLst>
              <a:ext uri="{FF2B5EF4-FFF2-40B4-BE49-F238E27FC236}">
                <a16:creationId xmlns:a16="http://schemas.microsoft.com/office/drawing/2014/main" id="{212C3C6E-070A-4204-881E-86E1C6A64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249599"/>
            <a:ext cx="6371732" cy="194828"/>
          </a:xfrm>
        </p:spPr>
        <p:txBody>
          <a:bodyPr/>
          <a:lstStyle/>
          <a:p>
            <a:r>
              <a:rPr lang="en-US" altLang="zh-CN" dirty="0"/>
              <a:t>Lin, </a:t>
            </a:r>
            <a:r>
              <a:rPr lang="en-US" altLang="zh-CN" dirty="0" err="1"/>
              <a:t>Hsuan</a:t>
            </a:r>
            <a:r>
              <a:rPr lang="en-US" altLang="zh-CN" dirty="0"/>
              <a:t>-Tien, and </a:t>
            </a:r>
            <a:r>
              <a:rPr lang="en-US" altLang="zh-CN" dirty="0" err="1"/>
              <a:t>Chih</a:t>
            </a:r>
            <a:r>
              <a:rPr lang="en-US" altLang="zh-CN" dirty="0"/>
              <a:t>-Jen Lin. "A study on sigmoid kernels for SVM and the training of non-PSD kernels by SMO-type methods." 2003.</a:t>
            </a:r>
          </a:p>
        </p:txBody>
      </p:sp>
    </p:spTree>
    <p:extLst>
      <p:ext uri="{BB962C8B-B14F-4D97-AF65-F5344CB8AC3E}">
        <p14:creationId xmlns:p14="http://schemas.microsoft.com/office/powerpoint/2010/main" val="215547976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828059"/>
          </a:xfrm>
        </p:spPr>
        <p:txBody>
          <a:bodyPr>
            <a:noAutofit/>
          </a:bodyPr>
          <a:lstStyle/>
          <a:p>
            <a:r>
              <a:rPr kumimoji="1" lang="zh-CN" altLang="en-US" dirty="0"/>
              <a:t>泛线性模型</a:t>
            </a:r>
            <a:br>
              <a:rPr kumimoji="1" lang="en-US" altLang="zh-CN" dirty="0"/>
            </a:br>
            <a:r>
              <a:rPr kumimoji="1" lang="zh-CN" altLang="en-US" sz="4000" dirty="0"/>
              <a:t>（复习）</a:t>
            </a:r>
            <a:endParaRPr kumimoji="1" lang="zh-CN" altLang="en-US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367287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9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0117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回归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3206821"/>
                <a:ext cx="7660046" cy="313683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</a:t>
                </a:r>
                <a14:m>
                  <m:oMath xmlns:m="http://schemas.openxmlformats.org/officeDocument/2006/math">
                    <m:r>
                      <a:rPr lang="en-US" altLang="zh-CN" sz="1800" b="0" i="0" smtClean="0">
                        <a:latin typeface="Cambria Math" panose="02040503050406030204" pitchFamily="18" charset="0"/>
                      </a:rPr>
                      <m:t>                                               </m:t>
                    </m:r>
                    <m:acc>
                      <m:accPr>
                        <m:chr m:val="̂"/>
                        <m:ctrlPr>
                          <a:rPr lang="en-US" altLang="zh-CN" sz="1800" b="1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zh-CN" altLang="en-US" sz="1800" b="1"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</m:acc>
                    <m:r>
                      <a:rPr lang="en-US" altLang="zh-CN" sz="1800" b="0" i="0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𝐗</m:t>
                    </m:r>
                    <m:r>
                      <a:rPr lang="zh-CN" altLang="en-US" sz="1800" b="1" smtClean="0">
                        <a:latin typeface="Cambria Math" panose="02040503050406030204" pitchFamily="18" charset="0"/>
                      </a:rPr>
                      <m:t>𝛉</m:t>
                    </m:r>
                    <m:r>
                      <a:rPr lang="en-US" altLang="zh-CN" sz="1800" b="1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zh-CN" altLang="en-US" sz="18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sSup>
                                <m:sSupPr>
                                  <m:ctrlPr>
                                    <a:rPr lang="zh-CN" alt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800" b="1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8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80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sz="1800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mr>
                          <m:mr>
                            <m:e>
                              <m:sSup>
                                <m:sSupPr>
                                  <m:ctrlPr>
                                    <a:rPr lang="zh-CN" alt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800" b="1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8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80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sz="1800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mr>
                          <m:mr>
                            <m:e>
                              <m:r>
                                <a:rPr lang="zh-CN" altLang="en-US" sz="1800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</m:mr>
                          <m:mr>
                            <m:e>
                              <m:sSup>
                                <m:sSupPr>
                                  <m:ctrlPr>
                                    <a:rPr lang="zh-CN" alt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1800" b="1">
                                      <a:latin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sz="18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sz="1800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sz="1800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函数 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 </a:t>
                </a:r>
                <a14:m>
                  <m:oMath xmlns:m="http://schemas.openxmlformats.org/officeDocument/2006/math">
                    <m:r>
                      <a:rPr lang="zh-CN" altLang="en-US" sz="1800" i="1">
                        <a:latin typeface="Cambria Math" panose="02040503050406030204" pitchFamily="18" charset="0"/>
                      </a:rPr>
                      <m:t>𝐽</m:t>
                    </m:r>
                    <m:r>
                      <a:rPr lang="zh-CN" altLang="en-US" sz="1800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𝛉</m:t>
                    </m:r>
                    <m:r>
                      <a:rPr lang="zh-CN" altLang="en-US" sz="1800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 sz="180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zh-CN" altLang="en-US" sz="180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zh-CN" altLang="en-US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sz="1800" b="1">
                                <a:latin typeface="Cambria Math" panose="02040503050406030204" pitchFamily="18" charset="0"/>
                              </a:rPr>
                              <m:t>𝐲</m:t>
                            </m:r>
                            <m:r>
                              <a:rPr lang="zh-CN" altLang="en-US" sz="180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acc>
                              <m:accPr>
                                <m:chr m:val="̂"/>
                                <m:ctrlPr>
                                  <a:rPr lang="zh-CN" altLang="en-US" sz="1800" i="1"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zh-CN" altLang="en-US" sz="1800" b="1">
                                    <a:latin typeface="Cambria Math" panose="02040503050406030204" pitchFamily="18" charset="0"/>
                                  </a:rPr>
                                  <m:t>𝐲</m:t>
                                </m:r>
                              </m:e>
                            </m:acc>
                          </m:e>
                        </m:d>
                      </m:e>
                      <m:sup>
                        <m:r>
                          <a:rPr lang="zh-CN" altLang="en-US" sz="1800" i="1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zh-CN" altLang="en-US" sz="1800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𝐲</m:t>
                    </m:r>
                    <m:r>
                      <a:rPr lang="zh-CN" altLang="en-US" sz="1800"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̂"/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zh-CN" altLang="en-US" sz="1800" b="1">
                            <a:latin typeface="Cambria Math" panose="02040503050406030204" pitchFamily="18" charset="0"/>
                          </a:rPr>
                          <m:t>𝐲</m:t>
                        </m:r>
                      </m:e>
                    </m:acc>
                    <m:r>
                      <a:rPr lang="zh-CN" altLang="en-US" sz="1800">
                        <a:latin typeface="Cambria Math" panose="02040503050406030204" pitchFamily="18" charset="0"/>
                      </a:rPr>
                      <m:t>)=</m:t>
                    </m:r>
                    <m:f>
                      <m:fPr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 sz="180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zh-CN" altLang="en-US" sz="180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zh-CN" alt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zh-CN" altLang="en-US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sz="1800" b="1">
                                <a:latin typeface="Cambria Math" panose="02040503050406030204" pitchFamily="18" charset="0"/>
                              </a:rPr>
                              <m:t>𝐲</m:t>
                            </m:r>
                            <m:r>
                              <a:rPr lang="zh-CN" altLang="en-US" sz="180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800" b="1">
                                <a:latin typeface="Cambria Math" panose="02040503050406030204" pitchFamily="18" charset="0"/>
                              </a:rPr>
                              <m:t>𝐗</m:t>
                            </m:r>
                            <m:r>
                              <a:rPr lang="zh-CN" altLang="en-US" sz="1800" b="1">
                                <a:latin typeface="Cambria Math" panose="02040503050406030204" pitchFamily="18" charset="0"/>
                              </a:rPr>
                              <m:t>𝛉</m:t>
                            </m:r>
                          </m:e>
                        </m:d>
                      </m:e>
                      <m:sup>
                        <m:r>
                          <a:rPr lang="zh-CN" altLang="en-US" sz="1800" i="1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zh-CN" altLang="en-US" sz="1800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𝐲</m:t>
                    </m:r>
                    <m:r>
                      <a:rPr lang="zh-CN" altLang="en-US" sz="1800">
                        <a:latin typeface="Cambria Math" panose="02040503050406030204" pitchFamily="18" charset="0"/>
                      </a:rPr>
                      <m:t>−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𝐗</m:t>
                    </m:r>
                    <m:r>
                      <a:rPr lang="zh-CN" altLang="en-US" sz="1800" b="1">
                        <a:latin typeface="Cambria Math" panose="02040503050406030204" pitchFamily="18" charset="0"/>
                      </a:rPr>
                      <m:t>𝛉</m:t>
                    </m:r>
                    <m:r>
                      <a:rPr lang="en-US" altLang="zh-CN" sz="1800" b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1800" dirty="0"/>
              </a:p>
              <a:p>
                <a:pPr>
                  <a:lnSpc>
                    <a:spcPct val="150000"/>
                  </a:lnSpc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3206821"/>
                <a:ext cx="7660046" cy="3136833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001659" y="1956780"/>
                <a:ext cx="7498080" cy="14356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𝐗</m:t>
                      </m:r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b="1" i="0">
                                        <a:latin typeface="Cambria Math" panose="02040503050406030204" pitchFamily="18" charset="0"/>
                                      </a:rPr>
                                      <m:t>𝐱</m:t>
                                    </m:r>
                                  </m:e>
                                  <m:sup>
                                    <m:d>
                                      <m:dPr>
                                        <m:ctrlPr>
                                          <a:rPr lang="zh-CN" altLang="en-US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</m:sup>
                                </m:sSup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b="1" i="0">
                                        <a:latin typeface="Cambria Math" panose="02040503050406030204" pitchFamily="18" charset="0"/>
                                      </a:rPr>
                                      <m:t>𝐱</m:t>
                                    </m:r>
                                  </m:e>
                                  <m:sup>
                                    <m:d>
                                      <m:dPr>
                                        <m:ctrlPr>
                                          <a:rPr lang="zh-CN" altLang="en-US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d>
                                  </m:sup>
                                </m:sSup>
                              </m:e>
                            </m:mr>
                            <m:mr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p>
                                  <m:s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zh-CN" altLang="en-US" b="1" i="0">
                                        <a:latin typeface="Cambria Math" panose="02040503050406030204" pitchFamily="18" charset="0"/>
                                      </a:rPr>
                                      <m:t>𝐱</m:t>
                                    </m:r>
                                  </m:e>
                                  <m:sup>
                                    <m:d>
                                      <m:dPr>
                                        <m:ctrlPr>
                                          <a:rPr lang="zh-CN" altLang="en-US" b="1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sup>
                                </m:sSup>
                              </m:e>
                            </m:mr>
                          </m:m>
                        </m:e>
                      </m:d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5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…</m:t>
                                </m:r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</m:m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…</m:t>
                                </m:r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</m:mr>
                            <m:mr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⋱</m:t>
                                </m:r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…</m:t>
                                </m:r>
                              </m:e>
                              <m:e>
                                <m:sSubSup>
                                  <m:sSubSup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  <m:sup>
                                    <m:d>
                                      <m:dPr>
                                        <m:ctrlP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zh-CN" altLang="en-US" b="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e>
                                    </m:d>
                                  </m:sup>
                                </m:sSubSup>
                              </m:e>
                            </m:mr>
                          </m:m>
                        </m:e>
                      </m:d>
                      <m:r>
                        <m:rPr>
                          <m:nor/>
                        </m:rPr>
                        <a:rPr lang="zh-CN" altLang="en-US" b="0" i="1">
                          <a:latin typeface="Cambria Math" panose="02040503050406030204" pitchFamily="18" charset="0"/>
                        </a:rPr>
                        <m:t> </m:t>
                      </m:r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𝛉</m:t>
                      </m:r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𝜃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𝜃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𝜃</m:t>
                                    </m:r>
                                  </m:e>
                                  <m:sub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zh-CN" altLang="en-US" b="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zh-CN" altLang="en-US" b="0" i="0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zh-CN" altLang="en-US" b="0" i="1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1659" y="1956780"/>
                <a:ext cx="7498080" cy="143564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28662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边界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56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可分的情形下，决策边界可以是多样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70" name="直接连接符 69"/>
          <p:cNvCxnSpPr/>
          <p:nvPr/>
        </p:nvCxnSpPr>
        <p:spPr>
          <a:xfrm>
            <a:off x="3501083" y="2614371"/>
            <a:ext cx="1373014" cy="3097427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 flipH="1">
            <a:off x="3893794" y="2833816"/>
            <a:ext cx="779152" cy="27102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 flipH="1">
            <a:off x="4042077" y="2833816"/>
            <a:ext cx="969360" cy="27102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/>
          <p:cNvCxnSpPr/>
          <p:nvPr/>
        </p:nvCxnSpPr>
        <p:spPr>
          <a:xfrm flipH="1">
            <a:off x="3703955" y="2702011"/>
            <a:ext cx="373777" cy="284205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椭圆 73"/>
          <p:cNvSpPr/>
          <p:nvPr/>
        </p:nvSpPr>
        <p:spPr>
          <a:xfrm>
            <a:off x="3087078" y="337769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5" name="组合 74"/>
          <p:cNvGrpSpPr/>
          <p:nvPr/>
        </p:nvGrpSpPr>
        <p:grpSpPr>
          <a:xfrm>
            <a:off x="2594919" y="3084615"/>
            <a:ext cx="3560289" cy="2095386"/>
            <a:chOff x="2594919" y="3084615"/>
            <a:chExt cx="3560289" cy="2095386"/>
          </a:xfrm>
        </p:grpSpPr>
        <p:sp>
          <p:nvSpPr>
            <p:cNvPr id="76" name="十字形 75"/>
            <p:cNvSpPr/>
            <p:nvPr/>
          </p:nvSpPr>
          <p:spPr>
            <a:xfrm flipH="1">
              <a:off x="2924433" y="338575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十字形 76"/>
            <p:cNvSpPr/>
            <p:nvPr/>
          </p:nvSpPr>
          <p:spPr>
            <a:xfrm flipH="1">
              <a:off x="3575222" y="384670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十字形 77"/>
            <p:cNvSpPr/>
            <p:nvPr/>
          </p:nvSpPr>
          <p:spPr>
            <a:xfrm flipH="1">
              <a:off x="3171568" y="426683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9" name="十字形 78"/>
            <p:cNvSpPr/>
            <p:nvPr/>
          </p:nvSpPr>
          <p:spPr>
            <a:xfrm flipH="1">
              <a:off x="3575222" y="4629300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十字形 79"/>
            <p:cNvSpPr/>
            <p:nvPr/>
          </p:nvSpPr>
          <p:spPr>
            <a:xfrm flipH="1">
              <a:off x="2594919" y="4027572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十字形 80"/>
            <p:cNvSpPr/>
            <p:nvPr/>
          </p:nvSpPr>
          <p:spPr>
            <a:xfrm flipH="1">
              <a:off x="2833817" y="4661521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十字形 81"/>
            <p:cNvSpPr/>
            <p:nvPr/>
          </p:nvSpPr>
          <p:spPr>
            <a:xfrm flipH="1">
              <a:off x="3352800" y="4998769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矩形 82"/>
            <p:cNvSpPr/>
            <p:nvPr/>
          </p:nvSpPr>
          <p:spPr>
            <a:xfrm>
              <a:off x="4794422" y="382384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4" name="矩形 83"/>
            <p:cNvSpPr/>
            <p:nvPr/>
          </p:nvSpPr>
          <p:spPr>
            <a:xfrm>
              <a:off x="5268097" y="416308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5103340" y="4525550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矩形 85"/>
            <p:cNvSpPr/>
            <p:nvPr/>
          </p:nvSpPr>
          <p:spPr>
            <a:xfrm>
              <a:off x="5457568" y="497590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7" name="矩形 86"/>
            <p:cNvSpPr/>
            <p:nvPr/>
          </p:nvSpPr>
          <p:spPr>
            <a:xfrm>
              <a:off x="5934074" y="356698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 87"/>
            <p:cNvSpPr/>
            <p:nvPr/>
          </p:nvSpPr>
          <p:spPr>
            <a:xfrm>
              <a:off x="5949262" y="4072469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矩形 88"/>
            <p:cNvSpPr/>
            <p:nvPr/>
          </p:nvSpPr>
          <p:spPr>
            <a:xfrm>
              <a:off x="5457568" y="3622064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0" name="矩形 89"/>
            <p:cNvSpPr/>
            <p:nvPr/>
          </p:nvSpPr>
          <p:spPr>
            <a:xfrm>
              <a:off x="5206313" y="3276075"/>
              <a:ext cx="205946" cy="4571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1" name="十字形 90"/>
            <p:cNvSpPr/>
            <p:nvPr/>
          </p:nvSpPr>
          <p:spPr>
            <a:xfrm flipH="1">
              <a:off x="3278660" y="3084615"/>
              <a:ext cx="181232" cy="181232"/>
            </a:xfrm>
            <a:prstGeom prst="plus">
              <a:avLst>
                <a:gd name="adj" fmla="val 43182"/>
              </a:avLst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2" name="直接连接符 91"/>
          <p:cNvCxnSpPr/>
          <p:nvPr/>
        </p:nvCxnSpPr>
        <p:spPr>
          <a:xfrm>
            <a:off x="4238400" y="2570205"/>
            <a:ext cx="0" cy="315509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椭圆 92"/>
          <p:cNvSpPr/>
          <p:nvPr/>
        </p:nvSpPr>
        <p:spPr>
          <a:xfrm>
            <a:off x="2789816" y="266045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椭圆 93"/>
          <p:cNvSpPr/>
          <p:nvPr/>
        </p:nvSpPr>
        <p:spPr>
          <a:xfrm>
            <a:off x="2451694" y="291280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椭圆 94"/>
          <p:cNvSpPr/>
          <p:nvPr/>
        </p:nvSpPr>
        <p:spPr>
          <a:xfrm>
            <a:off x="2104706" y="354426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椭圆 95"/>
          <p:cNvSpPr/>
          <p:nvPr/>
        </p:nvSpPr>
        <p:spPr>
          <a:xfrm>
            <a:off x="2692437" y="3774716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椭圆 96"/>
          <p:cNvSpPr/>
          <p:nvPr/>
        </p:nvSpPr>
        <p:spPr>
          <a:xfrm>
            <a:off x="2346302" y="4213059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椭圆 97"/>
          <p:cNvSpPr/>
          <p:nvPr/>
        </p:nvSpPr>
        <p:spPr>
          <a:xfrm>
            <a:off x="3087078" y="4238825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椭圆 98"/>
          <p:cNvSpPr/>
          <p:nvPr/>
        </p:nvSpPr>
        <p:spPr>
          <a:xfrm>
            <a:off x="2848272" y="4536285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椭圆 99"/>
          <p:cNvSpPr/>
          <p:nvPr/>
        </p:nvSpPr>
        <p:spPr>
          <a:xfrm>
            <a:off x="4264406" y="3276075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椭圆 100"/>
          <p:cNvSpPr/>
          <p:nvPr/>
        </p:nvSpPr>
        <p:spPr>
          <a:xfrm>
            <a:off x="4706012" y="274786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椭圆 101"/>
          <p:cNvSpPr/>
          <p:nvPr/>
        </p:nvSpPr>
        <p:spPr>
          <a:xfrm>
            <a:off x="4972248" y="3048137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椭圆 102"/>
          <p:cNvSpPr/>
          <p:nvPr/>
        </p:nvSpPr>
        <p:spPr>
          <a:xfrm>
            <a:off x="5462828" y="302711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4" name="椭圆 103"/>
          <p:cNvSpPr/>
          <p:nvPr/>
        </p:nvSpPr>
        <p:spPr>
          <a:xfrm>
            <a:off x="5527583" y="3521401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椭圆 104"/>
          <p:cNvSpPr/>
          <p:nvPr/>
        </p:nvSpPr>
        <p:spPr>
          <a:xfrm>
            <a:off x="4817992" y="3622063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椭圆 105"/>
          <p:cNvSpPr/>
          <p:nvPr/>
        </p:nvSpPr>
        <p:spPr>
          <a:xfrm>
            <a:off x="4629572" y="3974482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椭圆 106"/>
          <p:cNvSpPr/>
          <p:nvPr/>
        </p:nvSpPr>
        <p:spPr>
          <a:xfrm>
            <a:off x="4955765" y="4434248"/>
            <a:ext cx="1147853" cy="1147853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607177"/>
            <a:ext cx="7660046" cy="716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种直观的最优决策边界：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大间隔边界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135092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0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242363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回归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4" y="1733443"/>
            <a:ext cx="7660046" cy="4713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梯度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511721" y="1934009"/>
                <a:ext cx="4477956" cy="8702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𝐽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𝐲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𝐗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𝐲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d>
                      <m:r>
                        <a:rPr lang="en-US" altLang="zh-CN" b="1" i="1">
                          <a:latin typeface="Cambria Math" panose="02040503050406030204" pitchFamily="18" charset="0"/>
                        </a:rPr>
                        <m:t>            </m:t>
                      </m:r>
                      <m:limLow>
                        <m:limLow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lim>
                      </m:limLow>
                      <m:r>
                        <a:rPr lang="en-US" altLang="zh-CN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𝛉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1721" y="1934009"/>
                <a:ext cx="4477956" cy="87023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3118705" y="3194064"/>
                <a:ext cx="2427524" cy="6298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𝐗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𝛉</m:t>
                      </m:r>
                      <m:r>
                        <a:rPr lang="en-US" altLang="zh-CN" b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8705" y="3194064"/>
                <a:ext cx="2427524" cy="62985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2759775" y="4365915"/>
                <a:ext cx="3316421" cy="6298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𝐲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d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9775" y="4365915"/>
                <a:ext cx="3316421" cy="6298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3809290" y="5158643"/>
                <a:ext cx="182485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→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𝐗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𝛉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9290" y="5158643"/>
                <a:ext cx="1824859" cy="369332"/>
              </a:xfrm>
              <a:prstGeom prst="rect">
                <a:avLst/>
              </a:prstGeom>
              <a:blipFill>
                <a:blip r:embed="rId7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3809290" y="5745891"/>
                <a:ext cx="2194319" cy="3813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→</m:t>
                      </m:r>
                      <m:acc>
                        <m:accPr>
                          <m:chr m:val="̂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acc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𝐗</m:t>
                                  </m:r>
                                </m:e>
                                <m:sup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𝐗</m:t>
                              </m:r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⊤</m:t>
                          </m:r>
                        </m:sup>
                      </m:sSup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9290" y="5745891"/>
                <a:ext cx="2194319" cy="381323"/>
              </a:xfrm>
              <a:prstGeom prst="rect">
                <a:avLst/>
              </a:prstGeom>
              <a:blipFill>
                <a:blip r:embed="rId8"/>
                <a:stretch>
                  <a:fillRect b="-80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1914754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1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93318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1733444"/>
                <a:ext cx="7660046" cy="290010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映射关系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映射函数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𝜙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zh-CN" altLang="en-US">
                        <a:latin typeface="Cambria Math" panose="02040503050406030204" pitchFamily="18" charset="0"/>
                      </a:rPr>
                      <m:t>↦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en-US" altLang="zh-CN">
                            <a:latin typeface="Cambria Math" panose="02040503050406030204" pitchFamily="18" charset="0"/>
                          </a:rPr>
                          <m:t>h</m:t>
                        </m:r>
                      </m:sup>
                    </m:sSup>
                  </m:oMath>
                </a14:m>
                <a:endParaRPr lang="en-US" altLang="zh-CN" dirty="0"/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映射后的特征矩阵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b="1">
                            <a:latin typeface="Cambria Math" panose="02040503050406030204" pitchFamily="18" charset="0"/>
                          </a:rPr>
                          <m:t>𝚽</m:t>
                        </m:r>
                        <m:r>
                          <m:rPr>
                            <m:nor/>
                          </m:rPr>
                          <a:rPr lang="zh-CN" altLang="en-US" dirty="0">
                            <a:latin typeface="阿里巴巴普惠体 R" panose="00020600040101010101" pitchFamily="18" charset="-122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1733444"/>
                <a:ext cx="7660046" cy="2900102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848239" y="2280701"/>
                <a:ext cx="1804918" cy="5078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𝜙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8239" y="2280701"/>
                <a:ext cx="1804918" cy="5078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207422" y="4035052"/>
                <a:ext cx="7086553" cy="22054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𝚽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𝜙</m:t>
                                </m:r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</m:m>
                        </m:e>
                      </m:d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⋱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  <m:mr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⋱</m:t>
                                </m:r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  <m:e>
                                <m: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𝜙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𝑥</m:t>
                                        </m:r>
                                      </m:e>
                                      <m:sup>
                                        <m:d>
                                          <m:dPr>
                                            <m:ctrlP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zh-CN" altLang="en-US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e>
                                        </m:d>
                                      </m:sup>
                                    </m:sSup>
                                  </m:e>
                                </m:d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  <a:p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7422" y="4035052"/>
                <a:ext cx="7086553" cy="220541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87640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61626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线性回归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4" y="1733444"/>
            <a:ext cx="7660046" cy="41556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梯度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511721" y="1934009"/>
                <a:ext cx="4711996" cy="8702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𝐽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𝐲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𝚽</m:t>
                              </m:r>
                              <m:r>
                                <m:rPr>
                                  <m:nor/>
                                </m:rPr>
                                <a:rPr lang="zh-CN" altLang="en-US" dirty="0"/>
                                <m:t> 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e>
                        <m:sup>
                          <m:r>
                            <a:rPr lang="zh-CN" altLang="en-US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𝐲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  <m:r>
                            <m:rPr>
                              <m:nor/>
                            </m:rPr>
                            <a:rPr lang="zh-CN" altLang="en-US" dirty="0"/>
                            <m:t> 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d>
                      <m:r>
                        <a:rPr lang="en-US" altLang="zh-CN" b="1" i="1">
                          <a:latin typeface="Cambria Math" panose="02040503050406030204" pitchFamily="18" charset="0"/>
                        </a:rPr>
                        <m:t>            </m:t>
                      </m:r>
                      <m:limLow>
                        <m:limLow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min</m:t>
                          </m:r>
                        </m:e>
                        <m:lim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lim>
                      </m:limLow>
                      <m:r>
                        <a:rPr lang="en-US" altLang="zh-CN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𝛉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1721" y="1934009"/>
                <a:ext cx="4711996" cy="87023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965739" y="3301714"/>
                <a:ext cx="2733455" cy="6298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𝚽𝛉</m:t>
                      </m:r>
                      <m:r>
                        <a:rPr lang="en-US" altLang="zh-CN" b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5739" y="3301714"/>
                <a:ext cx="2733455" cy="62985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2680582" y="4429033"/>
                <a:ext cx="3424399" cy="6298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𝛉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𝐲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𝛉</m:t>
                          </m:r>
                        </m:e>
                      </m:d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0582" y="4429033"/>
                <a:ext cx="3424399" cy="6298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3723616" y="5114342"/>
                <a:ext cx="198009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→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n-US" altLang="zh-CN" b="1" i="0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𝚽𝛉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3616" y="5114342"/>
                <a:ext cx="1980093" cy="369332"/>
              </a:xfrm>
              <a:prstGeom prst="rect">
                <a:avLst/>
              </a:prstGeom>
              <a:blipFill>
                <a:blip r:embed="rId7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3723616" y="5626688"/>
                <a:ext cx="2349554" cy="3813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→</m:t>
                      </m:r>
                      <m:acc>
                        <m:accPr>
                          <m:chr m:val="̂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acc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>
                                      <a:latin typeface="Cambria Math" panose="02040503050406030204" pitchFamily="18" charset="0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⊤</m:t>
                                  </m:r>
                                </m:sup>
                              </m:sSup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𝚽</m:t>
                              </m:r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3616" y="5626688"/>
                <a:ext cx="2349554" cy="381323"/>
              </a:xfrm>
              <a:prstGeom prst="rect">
                <a:avLst/>
              </a:prstGeom>
              <a:blipFill>
                <a:blip r:embed="rId8"/>
                <a:stretch>
                  <a:fillRect b="-79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8086460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泛线性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3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61626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核线性回归矩阵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4" y="1733444"/>
            <a:ext cx="7660046" cy="6356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矩阵运算的代数技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4" y="2799393"/>
            <a:ext cx="7660046" cy="6356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2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范数作为正则项，最优参数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4264352"/>
                <a:ext cx="7660046" cy="63568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预测时，我们不需要真正求出</a:t>
                </a:r>
                <a14:m>
                  <m:oMath xmlns:m="http://schemas.openxmlformats.org/officeDocument/2006/math">
                    <m:r>
                      <a:rPr lang="zh-CN" altLang="en-US" b="1">
                        <a:latin typeface="Cambria Math" panose="02040503050406030204" pitchFamily="18" charset="0"/>
                      </a:rPr>
                      <m:t>𝚽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4264352"/>
                <a:ext cx="7660046" cy="635684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857870" y="2339157"/>
                <a:ext cx="5785658" cy="3742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>
                                      <a:latin typeface="Cambria Math" panose="02040503050406030204" pitchFamily="18" charset="0"/>
                                    </a:rPr>
                                    <m:t>𝐏</m:t>
                                  </m:r>
                                </m:e>
                                <m:sup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𝐁</m:t>
                                  </m:r>
                                </m:e>
                                <m:sup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𝐑</m:t>
                                  </m:r>
                                </m:e>
                                <m:sup>
                                  <m:r>
                                    <a:rPr lang="zh-CN" altLang="en-US" b="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𝐁</m:t>
                              </m:r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p>
                          <m:r>
                            <a:rPr lang="zh-CN" altLang="en-US" b="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𝐑</m:t>
                          </m:r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𝐏</m:t>
                      </m:r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𝐁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𝐁𝐏</m:t>
                              </m:r>
                              <m:sSup>
                                <m:sSupPr>
                                  <m:ctrlPr>
                                    <a:rPr lang="zh-CN" alt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𝐁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𝐑</m:t>
                              </m:r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7870" y="2339157"/>
                <a:ext cx="5785658" cy="37427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360815" y="3421979"/>
                <a:ext cx="4572000" cy="381323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acc>
                      <m:r>
                        <m:rPr>
                          <m:nor/>
                        </m:rPr>
                        <a:rPr lang="zh-CN" altLang="en-US" b="1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𝚽</m:t>
                              </m:r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  <m:sSub>
                                <m:sSub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𝐈</m:t>
                                  </m:r>
                                </m:e>
                                <m:sub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sSup>
                        <m:sSupPr>
                          <m:ctrlPr>
                            <a:rPr lang="zh-CN" altLang="en-US" b="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b="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0815" y="3421979"/>
                <a:ext cx="4572000" cy="381323"/>
              </a:xfrm>
              <a:prstGeom prst="rect">
                <a:avLst/>
              </a:prstGeom>
              <a:blipFill>
                <a:blip r:embed="rId6"/>
                <a:stretch>
                  <a:fillRect b="-79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3537988" y="3895114"/>
                <a:ext cx="252517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𝚽</m:t>
                              </m:r>
                              <m:sSup>
                                <m:sSupPr>
                                  <m:ctrlPr>
                                    <a:rPr lang="zh-CN" alt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>
                                      <a:latin typeface="Cambria Math" panose="02040503050406030204" pitchFamily="18" charset="0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1">
                                      <a:latin typeface="Cambria Math" panose="02040503050406030204" pitchFamily="18" charset="0"/>
                                    </a:rPr>
                                    <m:t>𝐈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m:rPr>
                          <m:nor/>
                        </m:rPr>
                        <a:rPr lang="zh-CN" altLang="en-US" b="1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37988" y="3895114"/>
                <a:ext cx="2525178" cy="369332"/>
              </a:xfrm>
              <a:prstGeom prst="rect">
                <a:avLst/>
              </a:prstGeom>
              <a:blipFill>
                <a:blip r:embed="rId7"/>
                <a:stretch>
                  <a:fillRect b="-65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464699" y="4891881"/>
                <a:ext cx="4572000" cy="381323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b="1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acc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𝚽</m:t>
                      </m:r>
                      <m:acc>
                        <m:accPr>
                          <m:chr m:val="̂"/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𝛉</m:t>
                          </m:r>
                        </m:e>
                      </m:acc>
                      <m:r>
                        <m:rPr>
                          <m:nor/>
                        </m:rPr>
                        <a:rPr lang="zh-CN" altLang="en-US" b="1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𝚽</m:t>
                      </m:r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b="1" i="0">
                              <a:latin typeface="Cambria Math" panose="02040503050406030204" pitchFamily="18" charset="0"/>
                            </a:rPr>
                            <m:t>𝚽</m:t>
                          </m:r>
                        </m:e>
                        <m:sup>
                          <m:r>
                            <a:rPr lang="zh-CN" altLang="en-US" b="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 i="0">
                                  <a:latin typeface="Cambria Math" panose="02040503050406030204" pitchFamily="18" charset="0"/>
                                </a:rPr>
                                <m:t>𝚽</m:t>
                              </m:r>
                              <m:sSup>
                                <m:sSupPr>
                                  <m:ctrlPr>
                                    <a:rPr lang="zh-CN" altLang="en-US" b="1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𝚽</m:t>
                                  </m:r>
                                </m:e>
                                <m:sup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b="0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  <m:sSub>
                                <m:sSubPr>
                                  <m:ctrlP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1" i="0">
                                      <a:latin typeface="Cambria Math" panose="02040503050406030204" pitchFamily="18" charset="0"/>
                                    </a:rPr>
                                    <m:t>𝐈</m:t>
                                  </m:r>
                                </m:e>
                                <m:sub>
                                  <m:r>
                                    <a:rPr lang="zh-CN" altLang="en-US" b="0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zh-CN" altLang="en-US" b="0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zh-CN" altLang="en-US" b="1" i="0"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4699" y="4891881"/>
                <a:ext cx="4572000" cy="381323"/>
              </a:xfrm>
              <a:prstGeom prst="rect">
                <a:avLst/>
              </a:prstGeom>
              <a:blipFill>
                <a:blip r:embed="rId8"/>
                <a:stretch>
                  <a:fillRect t="-1587" b="-79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矩形 15"/>
              <p:cNvSpPr/>
              <p:nvPr/>
            </p:nvSpPr>
            <p:spPr>
              <a:xfrm>
                <a:off x="3855350" y="5338802"/>
                <a:ext cx="200683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𝐊</m:t>
                      </m:r>
                      <m:sSup>
                        <m:sSupPr>
                          <m:ctrlPr>
                            <a:rPr lang="zh-CN" altLang="en-US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b="1">
                                  <a:latin typeface="Cambria Math" panose="02040503050406030204" pitchFamily="18" charset="0"/>
                                </a:rPr>
                                <m:t>𝐊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1">
                                      <a:latin typeface="Cambria Math" panose="02040503050406030204" pitchFamily="18" charset="0"/>
                                    </a:rPr>
                                    <m:t>𝐈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zh-CN" altLang="en-US" b="1">
                          <a:latin typeface="Cambria Math" panose="02040503050406030204" pitchFamily="18" charset="0"/>
                        </a:rPr>
                        <m:t>𝐲</m:t>
                      </m:r>
                      <m:r>
                        <m:rPr>
                          <m:nor/>
                        </m:rPr>
                        <a:rPr lang="zh-CN" altLang="en-US" b="1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6" name="矩形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5350" y="5338802"/>
                <a:ext cx="2006831" cy="369332"/>
              </a:xfrm>
              <a:prstGeom prst="rect">
                <a:avLst/>
              </a:prstGeom>
              <a:blipFill>
                <a:blip r:embed="rId9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9827" y="5729311"/>
                <a:ext cx="7660046" cy="63568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，核矩阵为</a:t>
                </a:r>
                <a14:m>
                  <m:oMath xmlns:m="http://schemas.openxmlformats.org/officeDocument/2006/math">
                    <m:r>
                      <a:rPr lang="zh-CN" altLang="en-US" b="1">
                        <a:latin typeface="Cambria Math" panose="02040503050406030204" pitchFamily="18" charset="0"/>
                      </a:rPr>
                      <m:t>𝐊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={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</m:d>
                      </m:sup>
                    </m:sSup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p>
                        <m:d>
                          <m:dPr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</m:d>
                      </m:sup>
                    </m:sSup>
                    <m:r>
                      <a:rPr lang="en-US" altLang="zh-CN" b="1" i="1" smtClean="0">
                        <a:latin typeface="Cambria Math" panose="02040503050406030204" pitchFamily="18" charset="0"/>
                      </a:rPr>
                      <m:t>)}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827" y="5729311"/>
                <a:ext cx="7660046" cy="63568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页脚占位符 2">
            <a:extLst>
              <a:ext uri="{FF2B5EF4-FFF2-40B4-BE49-F238E27FC236}">
                <a16:creationId xmlns:a16="http://schemas.microsoft.com/office/drawing/2014/main" id="{212C3C6E-070A-4204-881E-86E1C6A64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249599"/>
            <a:ext cx="6371732" cy="194828"/>
          </a:xfrm>
        </p:spPr>
        <p:txBody>
          <a:bodyPr/>
          <a:lstStyle/>
          <a:p>
            <a:r>
              <a:rPr lang="en-US" altLang="zh-CN" dirty="0"/>
              <a:t>https://web2.qatar.cmu.edu/~gdicaro/10315-Fall19/additional/welling-notes-on-kernel-ridge.pdf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64CF99BA-7043-4C2B-9F18-314A08479797}"/>
              </a:ext>
            </a:extLst>
          </p:cNvPr>
          <p:cNvSpPr/>
          <p:nvPr/>
        </p:nvSpPr>
        <p:spPr>
          <a:xfrm>
            <a:off x="5508899" y="2796975"/>
            <a:ext cx="3581835" cy="6127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E934DBA4-B8FC-4406-A0F5-443BDE3A2C19}"/>
                  </a:ext>
                </a:extLst>
              </p:cNvPr>
              <p:cNvSpPr txBox="1"/>
              <p:nvPr/>
            </p:nvSpPr>
            <p:spPr>
              <a:xfrm>
                <a:off x="5459461" y="2796975"/>
                <a:ext cx="3684539" cy="6127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𝑷</m:t>
                      </m:r>
                      <m:r>
                        <a:rPr lang="en-US" altLang="zh-CN" b="1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𝜆</m:t>
                          </m:r>
                        </m:den>
                      </m:f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𝑰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h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h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    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𝑹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𝑰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𝑛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   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𝑩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𝚽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×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h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E934DBA4-B8FC-4406-A0F5-443BDE3A2C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9461" y="2796975"/>
                <a:ext cx="3684539" cy="6127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4662013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>
            <a:extLst>
              <a:ext uri="{FF2B5EF4-FFF2-40B4-BE49-F238E27FC236}">
                <a16:creationId xmlns:a16="http://schemas.microsoft.com/office/drawing/2014/main" id="{2FD27B26-9FAE-42B5-A291-B059750EDC72}"/>
              </a:ext>
            </a:extLst>
          </p:cNvPr>
          <p:cNvSpPr/>
          <p:nvPr/>
        </p:nvSpPr>
        <p:spPr>
          <a:xfrm>
            <a:off x="390867" y="1867804"/>
            <a:ext cx="3514383" cy="21136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总结支持向量机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4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1151505" y="1338313"/>
            <a:ext cx="19931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原始优化问题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380627" y="4362450"/>
            <a:ext cx="3347356" cy="18780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原始问题本身求解很方便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spcBef>
                <a:spcPts val="600"/>
              </a:spcBef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带线性不等式约束的凸优化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spcBef>
                <a:spcPts val="600"/>
              </a:spcBef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便用标准求解器求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spcBef>
                <a:spcPts val="600"/>
              </a:spcBef>
            </a:pPr>
            <a:r>
              <a:rPr lang="zh-CN" altLang="en-US" dirty="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方法</a:t>
            </a:r>
            <a:endParaRPr lang="en-US" altLang="zh-CN" dirty="0">
              <a:solidFill>
                <a:srgbClr val="17ABE3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02E12593-07FC-4704-866C-2352C4416C57}"/>
              </a:ext>
            </a:extLst>
          </p:cNvPr>
          <p:cNvSpPr/>
          <p:nvPr/>
        </p:nvSpPr>
        <p:spPr>
          <a:xfrm>
            <a:off x="4458451" y="1867804"/>
            <a:ext cx="4561724" cy="21136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62576D4-EE23-48D4-9A9A-5D02D9CAC29F}"/>
                  </a:ext>
                </a:extLst>
              </p:cNvPr>
              <p:cNvSpPr/>
              <p:nvPr/>
            </p:nvSpPr>
            <p:spPr>
              <a:xfrm>
                <a:off x="661100" y="2053528"/>
                <a:ext cx="1469441" cy="6501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in</m:t>
                          </m:r>
                        </m:e>
                        <m:li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</m:sSub>
                        </m:lim>
                      </m:limLow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</m:d>
                        </m:e>
                        <m:sup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62576D4-EE23-48D4-9A9A-5D02D9CAC2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1100" y="2053528"/>
                <a:ext cx="1469441" cy="6501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9C8687A9-659E-4E9C-85ED-6515ABD0F3C3}"/>
                  </a:ext>
                </a:extLst>
              </p:cNvPr>
              <p:cNvSpPr/>
              <p:nvPr/>
            </p:nvSpPr>
            <p:spPr>
              <a:xfrm>
                <a:off x="696268" y="2724988"/>
                <a:ext cx="2911374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zh-CN" altLang="en-US" smtClean="0"/>
                        <m:t> 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zh-CN" altLang="en-US" i="1"/>
                        <m:t>.</m:t>
                      </m:r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zh-CN" altLang="en-US" i="1"/>
                        <m:t>. </m:t>
                      </m:r>
                      <m:r>
                        <m:rPr>
                          <m:nor/>
                        </m:rPr>
                        <a:rPr lang="en-US" altLang="zh-CN" b="0" i="1" smtClean="0"/>
                        <m:t>  </m:t>
                      </m:r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9C8687A9-659E-4E9C-85ED-6515ABD0F3C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268" y="2724988"/>
                <a:ext cx="2911374" cy="410177"/>
              </a:xfrm>
              <a:prstGeom prst="rect">
                <a:avLst/>
              </a:prstGeom>
              <a:blipFill>
                <a:blip r:embed="rId3"/>
                <a:stretch>
                  <a:fillRect b="-44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2EE111C2-1798-4F5E-9906-B63A75321EF8}"/>
                  </a:ext>
                </a:extLst>
              </p:cNvPr>
              <p:cNvSpPr/>
              <p:nvPr/>
            </p:nvSpPr>
            <p:spPr>
              <a:xfrm>
                <a:off x="2385884" y="3211059"/>
                <a:ext cx="134209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1,…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2EE111C2-1798-4F5E-9906-B63A75321EF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884" y="3211059"/>
                <a:ext cx="1342099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箭头: 右 32">
            <a:extLst>
              <a:ext uri="{FF2B5EF4-FFF2-40B4-BE49-F238E27FC236}">
                <a16:creationId xmlns:a16="http://schemas.microsoft.com/office/drawing/2014/main" id="{3D6C41FE-1834-40C6-BA7C-B5EB5146934A}"/>
              </a:ext>
            </a:extLst>
          </p:cNvPr>
          <p:cNvSpPr/>
          <p:nvPr/>
        </p:nvSpPr>
        <p:spPr>
          <a:xfrm>
            <a:off x="4058485" y="2673772"/>
            <a:ext cx="304331" cy="169375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8ED17AB9-B5C1-400C-97BE-7436A528E596}"/>
              </a:ext>
            </a:extLst>
          </p:cNvPr>
          <p:cNvGrpSpPr/>
          <p:nvPr/>
        </p:nvGrpSpPr>
        <p:grpSpPr>
          <a:xfrm>
            <a:off x="4372494" y="1961567"/>
            <a:ext cx="4771506" cy="1937018"/>
            <a:chOff x="2364945" y="4770432"/>
            <a:chExt cx="4771506" cy="19370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277952AA-DC11-4E83-824D-A615B33DE959}"/>
                    </a:ext>
                  </a:extLst>
                </p:cNvPr>
                <p:cNvSpPr/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limLow>
                          <m:limLowPr>
                            <m:ctrlPr>
                              <a:rPr lang="zh-CN" altLang="en-US" sz="160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zh-CN" altLang="en-US" sz="1600">
                                <a:latin typeface="Cambria Math" panose="02040503050406030204" pitchFamily="18" charset="0"/>
                              </a:rPr>
                              <m:t>max</m:t>
                            </m:r>
                          </m:e>
                          <m:lim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zh-CN" altLang="en-US" sz="1600" i="1">
                            <a:latin typeface="Cambria Math" panose="02040503050406030204" pitchFamily="18" charset="0"/>
                          </a:rPr>
                          <m:t>𝛼</m:t>
                        </m:r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)=</m:t>
                        </m:r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r>
                          <a:rPr lang="zh-CN" altLang="en-US" sz="1600" i="0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600" i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p>
                              <m:sSup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d>
                                  <m:dPr>
                                    <m:ctrlP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</m:d>
                              </m:sup>
                            </m:sSup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sSup>
                          <m:sSupPr>
                            <m:ctrlPr>
                              <a:rPr lang="zh-CN" alt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</m:d>
                          </m:sup>
                        </m:sSup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5" name="矩形 1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4945" y="4770432"/>
                  <a:ext cx="4771506" cy="79239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518295DD-A8B3-43DE-8E65-D476231E0DF7}"/>
                    </a:ext>
                  </a:extLst>
                </p:cNvPr>
                <p:cNvSpPr/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US" altLang="zh-CN" sz="16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s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en-US" altLang="zh-CN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m:rPr>
                            <m:nor/>
                          </m:rPr>
                          <a:rPr lang="zh-CN" altLang="en-US" sz="1600" i="1">
                            <a:solidFill>
                              <a:schemeClr val="tx1"/>
                            </a:solidFill>
                          </a:rPr>
                          <m:t>.</m:t>
                        </m:r>
                        <m:r>
                          <m:rPr>
                            <m:nor/>
                          </m:rPr>
                          <a:rPr lang="en-US" altLang="zh-CN" sz="1600" b="0" i="1" smtClean="0">
                            <a:solidFill>
                              <a:schemeClr val="tx1"/>
                            </a:solidFill>
                          </a:rPr>
                          <m:t> 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0≤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𝛼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≤</m:t>
                        </m:r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 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,…,</m:t>
                        </m:r>
                        <m:r>
                          <a:rPr lang="zh-CN" altLang="en-US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US" altLang="zh-CN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" name="矩形 1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3307" y="5645956"/>
                  <a:ext cx="3098541" cy="338554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01219169-54BC-421A-9A98-C12B941BCA41}"/>
                    </a:ext>
                  </a:extLst>
                </p:cNvPr>
                <p:cNvSpPr/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nary>
                          <m:naryPr>
                            <m:chr m:val="∑"/>
                            <m:limLoc m:val="undOvr"/>
                            <m:grow m:val="on"/>
                            <m:ctrlPr>
                              <a:rPr lang="zh-CN" altLang="en-US" sz="160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zh-CN" altLang="en-US" sz="16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p>
                          <m:e>
                            <m:sSub>
                              <m:sSub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  <m:sub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p>
                            <m:d>
                              <m:dPr>
                                <m:ctrlP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6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d>
                          </m:sup>
                        </m:sSup>
                        <m:r>
                          <a:rPr lang="zh-CN" altLang="en-U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oMath>
                    </m:oMathPara>
                  </a14:m>
                  <a:endParaRPr lang="zh-CN" altLang="en-US" sz="16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7" name="矩形 1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90143" y="5942945"/>
                  <a:ext cx="1470852" cy="764505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7" name="文本占位符 3">
            <a:extLst>
              <a:ext uri="{FF2B5EF4-FFF2-40B4-BE49-F238E27FC236}">
                <a16:creationId xmlns:a16="http://schemas.microsoft.com/office/drawing/2014/main" id="{2E424DDC-60C9-417E-B28E-D9C92567350C}"/>
              </a:ext>
            </a:extLst>
          </p:cNvPr>
          <p:cNvSpPr txBox="1">
            <a:spLocks/>
          </p:cNvSpPr>
          <p:nvPr/>
        </p:nvSpPr>
        <p:spPr>
          <a:xfrm>
            <a:off x="5609239" y="1338313"/>
            <a:ext cx="19931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对偶优化问题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内容占位符 2">
                <a:extLst>
                  <a:ext uri="{FF2B5EF4-FFF2-40B4-BE49-F238E27FC236}">
                    <a16:creationId xmlns:a16="http://schemas.microsoft.com/office/drawing/2014/main" id="{E53A7AA7-C419-4D95-92A7-DC2CDA0084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96447" y="4362450"/>
                <a:ext cx="3990327" cy="187801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600"/>
                  </a:spcBef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偶问题通过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MO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建模成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二次函数，快速求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spcBef>
                    <a:spcPts val="600"/>
                  </a:spcBef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方便直接用代码手写完成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spcBef>
                    <a:spcPts val="600"/>
                  </a:spcBef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接导出了核技巧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spcBef>
                    <a:spcPts val="600"/>
                  </a:spcBef>
                </a:pPr>
                <a:r>
                  <a:rPr lang="zh-CN" altLang="en-US" dirty="0">
                    <a:solidFill>
                      <a:srgbClr val="17ABE3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参数化方法</a:t>
                </a:r>
                <a:endParaRPr lang="en-US" altLang="zh-CN" dirty="0">
                  <a:solidFill>
                    <a:srgbClr val="17ABE3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8" name="内容占位符 2">
                <a:extLst>
                  <a:ext uri="{FF2B5EF4-FFF2-40B4-BE49-F238E27FC236}">
                    <a16:creationId xmlns:a16="http://schemas.microsoft.com/office/drawing/2014/main" id="{E53A7AA7-C419-4D95-92A7-DC2CDA008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6447" y="4362450"/>
                <a:ext cx="3990327" cy="1878014"/>
              </a:xfrm>
              <a:prstGeom prst="rect">
                <a:avLst/>
              </a:prstGeom>
              <a:blipFill>
                <a:blip r:embed="rId9"/>
                <a:stretch>
                  <a:fillRect l="-917" t="-1948" b="-42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4978584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1D0FAAA-00CD-4A03-88A3-2D3F7F563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5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4E9610B-8264-40AD-A400-5F78F626A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支持向量机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C58C31F-E56A-4E16-8D1E-70E438C654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266669"/>
            <a:ext cx="8137922" cy="4870606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支持向量机是一种</a:t>
            </a:r>
            <a:r>
              <a:rPr lang="zh-CN" altLang="en-US" sz="2000" dirty="0">
                <a:solidFill>
                  <a:srgbClr val="00B0F0"/>
                </a:solidFill>
              </a:rPr>
              <a:t>线性模型</a:t>
            </a:r>
            <a:r>
              <a:rPr lang="zh-CN" altLang="en-US" sz="2000" dirty="0"/>
              <a:t>，优化目标是</a:t>
            </a:r>
            <a:r>
              <a:rPr lang="zh-CN" altLang="en-US" sz="2000" dirty="0">
                <a:solidFill>
                  <a:srgbClr val="00B0F0"/>
                </a:solidFill>
              </a:rPr>
              <a:t>最大化决策边界距离数据点的最小距离</a:t>
            </a:r>
            <a:r>
              <a:rPr lang="zh-CN" altLang="en-US" sz="2000" dirty="0"/>
              <a:t>，由此获得更好的分类鲁棒性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支持向量机的原问题可转化为一个二次函数优化问题，最终由</a:t>
            </a:r>
            <a:r>
              <a:rPr kumimoji="1" lang="zh-CN" altLang="en-US" sz="2000" dirty="0"/>
              <a:t>序列最小优化算法来高效求解</a:t>
            </a:r>
            <a:endParaRPr kumimoji="1" lang="en-US" altLang="zh-CN" sz="2000" dirty="0"/>
          </a:p>
          <a:p>
            <a:endParaRPr kumimoji="1" lang="en-US" altLang="zh-CN" sz="2000" dirty="0"/>
          </a:p>
          <a:p>
            <a:r>
              <a:rPr lang="zh-CN" altLang="en-US" sz="2000" dirty="0"/>
              <a:t>当对原始特征数据做了映射变换，支持向量机可以被看成一个泛线性模型，而使用核方法可以让研究者仅仅关注定义两个数据点之间的相似性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支持向量机和逻辑回归的本质区别是什么？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基于统计的机器学习的本质思维方式是什么？</a:t>
            </a:r>
          </a:p>
        </p:txBody>
      </p:sp>
    </p:spTree>
    <p:extLst>
      <p:ext uri="{BB962C8B-B14F-4D97-AF65-F5344CB8AC3E}">
        <p14:creationId xmlns:p14="http://schemas.microsoft.com/office/powerpoint/2010/main" val="43230244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1667493"/>
            <a:ext cx="7660046" cy="571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逻辑回归是一种二分类模型</a:t>
            </a:r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A5207DE6-9ACE-4C0F-8D8C-6DAFF325D058}"/>
              </a:ext>
            </a:extLst>
          </p:cNvPr>
          <p:cNvSpPr txBox="1">
            <a:spLocks/>
          </p:cNvSpPr>
          <p:nvPr/>
        </p:nvSpPr>
        <p:spPr>
          <a:xfrm>
            <a:off x="502442" y="3582231"/>
            <a:ext cx="7660046" cy="629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交叉熵损失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aphicFrame>
        <p:nvGraphicFramePr>
          <p:cNvPr id="5" name="对象 4"/>
          <p:cNvGraphicFramePr>
            <a:graphicFrameLocks noChangeAspect="1"/>
          </p:cNvGraphicFramePr>
          <p:nvPr/>
        </p:nvGraphicFramePr>
        <p:xfrm>
          <a:off x="6146800" y="3704478"/>
          <a:ext cx="914400" cy="198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914400" imgH="198720" progId="Equation.DSMT4">
                  <p:embed/>
                </p:oleObj>
              </mc:Choice>
              <mc:Fallback>
                <p:oleObj name="Equation" r:id="rId3" imgW="914400" imgH="198720" progId="Equation.DSMT4">
                  <p:embed/>
                  <p:pic>
                    <p:nvPicPr>
                      <p:cNvPr id="5" name="对象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146800" y="3704478"/>
                        <a:ext cx="914400" cy="1984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020972" y="330416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814980" y="2203878"/>
                <a:ext cx="3755772" cy="645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80" y="2203878"/>
                <a:ext cx="3755772" cy="64594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814980" y="2803134"/>
                <a:ext cx="2732223" cy="7285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80" y="2803134"/>
                <a:ext cx="2732223" cy="728597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38" descr="Image result for sigmoid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787" y="2320760"/>
            <a:ext cx="1993765" cy="1327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7549157" y="2231131"/>
                <a:ext cx="71147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9157" y="2231131"/>
                <a:ext cx="711477" cy="369332"/>
              </a:xfrm>
              <a:prstGeom prst="rect">
                <a:avLst/>
              </a:prstGeom>
              <a:blipFill>
                <a:blip r:embed="rId11"/>
                <a:stretch>
                  <a:fillRect t="-119672" r="-70085" b="-1836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/>
              <p:cNvSpPr/>
              <p:nvPr/>
            </p:nvSpPr>
            <p:spPr>
              <a:xfrm>
                <a:off x="7682552" y="3263382"/>
                <a:ext cx="3792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9" name="矩形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2552" y="3263382"/>
                <a:ext cx="379206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/>
              <p:cNvSpPr/>
              <p:nvPr/>
            </p:nvSpPr>
            <p:spPr>
              <a:xfrm>
                <a:off x="1959140" y="4211498"/>
                <a:ext cx="5583115" cy="4049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0" name="矩形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140" y="4211498"/>
                <a:ext cx="5583115" cy="404983"/>
              </a:xfrm>
              <a:prstGeom prst="rect">
                <a:avLst/>
              </a:prstGeom>
              <a:blipFill>
                <a:blip r:embed="rId13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A5207DE6-9ACE-4C0F-8D8C-6DAFF325D058}"/>
              </a:ext>
            </a:extLst>
          </p:cNvPr>
          <p:cNvSpPr txBox="1">
            <a:spLocks/>
          </p:cNvSpPr>
          <p:nvPr/>
        </p:nvSpPr>
        <p:spPr>
          <a:xfrm>
            <a:off x="502441" y="4525605"/>
            <a:ext cx="7660046" cy="629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梯度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/>
              <p:cNvSpPr/>
              <p:nvPr/>
            </p:nvSpPr>
            <p:spPr>
              <a:xfrm>
                <a:off x="266429" y="5134432"/>
                <a:ext cx="8608645" cy="6690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ℒ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)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)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3" name="矩形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6429" y="5134432"/>
                <a:ext cx="8608645" cy="669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矩形 23"/>
              <p:cNvSpPr/>
              <p:nvPr/>
            </p:nvSpPr>
            <p:spPr>
              <a:xfrm>
                <a:off x="1678561" y="5803526"/>
                <a:ext cx="193976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4" name="矩形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8561" y="5803526"/>
                <a:ext cx="1939762" cy="369332"/>
              </a:xfrm>
              <a:prstGeom prst="rect">
                <a:avLst/>
              </a:prstGeom>
              <a:blipFill>
                <a:blip r:embed="rId15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矩形 24"/>
              <p:cNvSpPr/>
              <p:nvPr/>
            </p:nvSpPr>
            <p:spPr>
              <a:xfrm>
                <a:off x="3671493" y="6057760"/>
                <a:ext cx="2717924" cy="40498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𝜂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zh-CN" altLang="en-US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25" name="矩形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1493" y="6057760"/>
                <a:ext cx="2717924" cy="404983"/>
              </a:xfrm>
              <a:prstGeom prst="rect">
                <a:avLst/>
              </a:prstGeom>
              <a:blipFill>
                <a:blip r:embed="rId16"/>
                <a:stretch>
                  <a:fillRect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52166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逻辑回归</a:t>
            </a:r>
          </a:p>
        </p:txBody>
      </p:sp>
    </p:spTree>
    <p:extLst>
      <p:ext uri="{BB962C8B-B14F-4D97-AF65-F5344CB8AC3E}">
        <p14:creationId xmlns:p14="http://schemas.microsoft.com/office/powerpoint/2010/main" val="3925627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线性分类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91544"/>
            <a:ext cx="7660046" cy="6790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逻辑回归给出了每个类别的概率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145430"/>
                <a:ext cx="7660046" cy="7166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个样例的最终标签由设定的阈值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h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145430"/>
                <a:ext cx="7660046" cy="716630"/>
              </a:xfrm>
              <a:prstGeom prst="rect">
                <a:avLst/>
              </a:prstGeom>
              <a:blipFill>
                <a:blip r:embed="rId4"/>
                <a:stretch>
                  <a:fillRect l="-477" b="-16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矩形 44"/>
              <p:cNvSpPr/>
              <p:nvPr/>
            </p:nvSpPr>
            <p:spPr>
              <a:xfrm>
                <a:off x="2879225" y="2489355"/>
                <a:ext cx="3742948" cy="645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5" name="矩形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79225" y="2489355"/>
                <a:ext cx="3742948" cy="64594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矩形 45"/>
              <p:cNvSpPr/>
              <p:nvPr/>
            </p:nvSpPr>
            <p:spPr>
              <a:xfrm>
                <a:off x="3390999" y="3321807"/>
                <a:ext cx="2719399" cy="7285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6" name="矩形 4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0999" y="3321807"/>
                <a:ext cx="2719399" cy="72859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3329475" y="5060533"/>
                <a:ext cx="2842445" cy="71019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1,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  <m:t>𝜃</m:t>
                                    </m:r>
                                  </m:sub>
                                </m:sSub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=1|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)&gt;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e>
                            </m:mr>
                            <m:mr>
                              <m:e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0,</m:t>
                                </m:r>
                              </m:e>
                              <m:e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>
                                    <a:latin typeface="Cambria Math" panose="02040503050406030204" pitchFamily="18" charset="0"/>
                                  </a:rPr>
                                  <m:t>otherwise</m:t>
                                </m:r>
                                <m:r>
                                  <m:rPr>
                                    <m:nor/>
                                  </m:r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9475" y="5060533"/>
                <a:ext cx="2842445" cy="710194"/>
              </a:xfrm>
              <a:prstGeom prst="rect">
                <a:avLst/>
              </a:prstGeom>
              <a:blipFill>
                <a:blip r:embed="rId7"/>
                <a:stretch>
                  <a:fillRect l="-21429" t="-191228" b="-2771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4065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标签决策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79045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344</TotalTime>
  <Words>4811</Words>
  <Application>Microsoft Office PowerPoint</Application>
  <PresentationFormat>全屏显示(4:3)</PresentationFormat>
  <Paragraphs>727</Paragraphs>
  <Slides>76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76</vt:i4>
      </vt:variant>
    </vt:vector>
  </HeadingPairs>
  <TitlesOfParts>
    <vt:vector size="88" baseType="lpstr">
      <vt:lpstr>Alibaba PuHuiTi</vt:lpstr>
      <vt:lpstr>阿里巴巴普惠体 B</vt:lpstr>
      <vt:lpstr>阿里巴巴普惠体 R</vt:lpstr>
      <vt:lpstr>Microsoft YaHei</vt:lpstr>
      <vt:lpstr>Microsoft YaHei</vt:lpstr>
      <vt:lpstr>Arial</vt:lpstr>
      <vt:lpstr>Cambria Math</vt:lpstr>
      <vt:lpstr>Wingdings</vt:lpstr>
      <vt:lpstr>主题5</vt:lpstr>
      <vt:lpstr>think-cell Slide</vt:lpstr>
      <vt:lpstr>Equation</vt:lpstr>
      <vt:lpstr>Formula</vt:lpstr>
      <vt:lpstr>PowerPoint 演示文稿</vt:lpstr>
      <vt:lpstr>PowerPoint 演示文稿</vt:lpstr>
      <vt:lpstr>PowerPoint 演示文稿</vt:lpstr>
      <vt:lpstr>线性分类器</vt:lpstr>
      <vt:lpstr>线性分类器</vt:lpstr>
      <vt:lpstr>线性分类器</vt:lpstr>
      <vt:lpstr>线性分类器</vt:lpstr>
      <vt:lpstr>线性分类器</vt:lpstr>
      <vt:lpstr>线性分类器</vt:lpstr>
      <vt:lpstr>线性分类器</vt:lpstr>
      <vt:lpstr>支持向量机</vt:lpstr>
      <vt:lpstr>支持向量机</vt:lpstr>
      <vt:lpstr>支持向量机</vt:lpstr>
      <vt:lpstr>支持向量机</vt:lpstr>
      <vt:lpstr>支持向量机</vt:lpstr>
      <vt:lpstr>支持向量机</vt:lpstr>
      <vt:lpstr>支持向量机</vt:lpstr>
      <vt:lpstr>PowerPoint 演示文稿</vt:lpstr>
      <vt:lpstr>PowerPoint 演示文稿</vt:lpstr>
      <vt:lpstr>拉格朗日 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拉格朗日对偶问题</vt:lpstr>
      <vt:lpstr>支持向量机 优化求解</vt:lpstr>
      <vt:lpstr>REVIEW：支持向量机优化目标</vt:lpstr>
      <vt:lpstr>支持向量机优化求解</vt:lpstr>
      <vt:lpstr>REVIEW: 拉格朗日对偶问题</vt:lpstr>
      <vt:lpstr>REVIEW: 拉格朗日对偶问题</vt:lpstr>
      <vt:lpstr>支持向量机优化求解</vt:lpstr>
      <vt:lpstr>支持向量机优化求解</vt:lpstr>
      <vt:lpstr>支持向量机优化求解</vt:lpstr>
      <vt:lpstr>支持向量机优化求解</vt:lpstr>
      <vt:lpstr>支持向量机优化求解</vt:lpstr>
      <vt:lpstr>支持向量机优化求解</vt:lpstr>
      <vt:lpstr>支持向量机优化求解</vt:lpstr>
      <vt:lpstr>支持向量机优化求解</vt:lpstr>
      <vt:lpstr>支持向量机优化求解</vt:lpstr>
      <vt:lpstr>PowerPoint 演示文稿</vt:lpstr>
      <vt:lpstr>序列最小优化算法</vt:lpstr>
      <vt:lpstr>序列最小优化算法</vt:lpstr>
      <vt:lpstr>序列最小优化算法</vt:lpstr>
      <vt:lpstr>序列最小优化算法</vt:lpstr>
      <vt:lpstr>序列最小优化算法</vt:lpstr>
      <vt:lpstr>序列最小优化算法</vt:lpstr>
      <vt:lpstr>序列最小优化算法</vt:lpstr>
      <vt:lpstr>PowerPoint 演示文稿</vt:lpstr>
      <vt:lpstr>PowerPoint 演示文稿</vt:lpstr>
      <vt:lpstr>支持向量机 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支持向量机核方法</vt:lpstr>
      <vt:lpstr>泛线性模型 （复习）</vt:lpstr>
      <vt:lpstr>泛线性模型</vt:lpstr>
      <vt:lpstr>泛线性模型</vt:lpstr>
      <vt:lpstr>泛线性模型</vt:lpstr>
      <vt:lpstr>泛线性模型</vt:lpstr>
      <vt:lpstr>泛线性模型</vt:lpstr>
      <vt:lpstr>总结支持向量机</vt:lpstr>
      <vt:lpstr>总结支持向量机</vt:lpstr>
      <vt:lpstr>PowerPoint 演示文稿</vt:lpstr>
    </vt:vector>
  </TitlesOfParts>
  <Manager/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-SVM</dc:title>
  <dc:subject/>
  <dc:creator>Weinan Zhang</dc:creator>
  <cp:keywords/>
  <dc:description/>
  <cp:lastModifiedBy>Hanye Zhao</cp:lastModifiedBy>
  <cp:revision>180</cp:revision>
  <cp:lastPrinted>2020-03-08T08:35:36Z</cp:lastPrinted>
  <dcterms:created xsi:type="dcterms:W3CDTF">2019-04-27T16:00:00Z</dcterms:created>
  <dcterms:modified xsi:type="dcterms:W3CDTF">2023-06-28T09:45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